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57" r:id="rId5"/>
  </p:sldMasterIdLst>
  <p:notesMasterIdLst>
    <p:notesMasterId r:id="rId15"/>
  </p:notesMasterIdLst>
  <p:handoutMasterIdLst>
    <p:handoutMasterId r:id="rId16"/>
  </p:handoutMasterIdLst>
  <p:sldIdLst>
    <p:sldId id="340" r:id="rId6"/>
    <p:sldId id="447" r:id="rId7"/>
    <p:sldId id="448" r:id="rId8"/>
    <p:sldId id="452" r:id="rId9"/>
    <p:sldId id="449" r:id="rId10"/>
    <p:sldId id="464" r:id="rId11"/>
    <p:sldId id="465" r:id="rId12"/>
    <p:sldId id="483" r:id="rId13"/>
    <p:sldId id="445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43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45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04F94A-BC99-A510-61AE-23111113DC52}" v="33" dt="2020-01-27T10:23:18.5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799" autoAdjust="0"/>
  </p:normalViewPr>
  <p:slideViewPr>
    <p:cSldViewPr snapToGrid="0" showGuides="1">
      <p:cViewPr varScale="1">
        <p:scale>
          <a:sx n="72" d="100"/>
          <a:sy n="72" d="100"/>
        </p:scale>
        <p:origin x="618" y="66"/>
      </p:cViewPr>
      <p:guideLst>
        <p:guide pos="143"/>
        <p:guide orient="horz" pos="2047"/>
        <p:guide orient="horz" pos="1593"/>
        <p:guide orient="horz" pos="2568"/>
        <p:guide orient="horz" pos="3045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lek, Marek" userId="S::mjilek@deloittece.com::40709bec-0fe0-40f1-94df-fe9ccd690ed1" providerId="AD" clId="Web-{2E04F94A-BC99-A510-61AE-23111113DC52}"/>
    <pc:docChg chg="modSld">
      <pc:chgData name="Jilek, Marek" userId="S::mjilek@deloittece.com::40709bec-0fe0-40f1-94df-fe9ccd690ed1" providerId="AD" clId="Web-{2E04F94A-BC99-A510-61AE-23111113DC52}" dt="2020-01-27T10:23:18.551" v="26" actId="20577"/>
      <pc:docMkLst>
        <pc:docMk/>
      </pc:docMkLst>
      <pc:sldChg chg="modSp">
        <pc:chgData name="Jilek, Marek" userId="S::mjilek@deloittece.com::40709bec-0fe0-40f1-94df-fe9ccd690ed1" providerId="AD" clId="Web-{2E04F94A-BC99-A510-61AE-23111113DC52}" dt="2020-01-27T10:21:28.613" v="11" actId="20577"/>
        <pc:sldMkLst>
          <pc:docMk/>
          <pc:sldMk cId="2854891406" sldId="458"/>
        </pc:sldMkLst>
        <pc:spChg chg="mod">
          <ac:chgData name="Jilek, Marek" userId="S::mjilek@deloittece.com::40709bec-0fe0-40f1-94df-fe9ccd690ed1" providerId="AD" clId="Web-{2E04F94A-BC99-A510-61AE-23111113DC52}" dt="2020-01-27T10:21:28.613" v="11" actId="20577"/>
          <ac:spMkLst>
            <pc:docMk/>
            <pc:sldMk cId="2854891406" sldId="458"/>
            <ac:spMk id="2" creationId="{00000000-0000-0000-0000-000000000000}"/>
          </ac:spMkLst>
        </pc:spChg>
      </pc:sldChg>
      <pc:sldChg chg="modSp">
        <pc:chgData name="Jilek, Marek" userId="S::mjilek@deloittece.com::40709bec-0fe0-40f1-94df-fe9ccd690ed1" providerId="AD" clId="Web-{2E04F94A-BC99-A510-61AE-23111113DC52}" dt="2020-01-27T10:23:18.551" v="26" actId="20577"/>
        <pc:sldMkLst>
          <pc:docMk/>
          <pc:sldMk cId="48285427" sldId="488"/>
        </pc:sldMkLst>
        <pc:spChg chg="mod">
          <ac:chgData name="Jilek, Marek" userId="S::mjilek@deloittece.com::40709bec-0fe0-40f1-94df-fe9ccd690ed1" providerId="AD" clId="Web-{2E04F94A-BC99-A510-61AE-23111113DC52}" dt="2020-01-27T10:23:18.551" v="26" actId="20577"/>
          <ac:spMkLst>
            <pc:docMk/>
            <pc:sldMk cId="48285427" sldId="488"/>
            <ac:spMk id="4" creationId="{00000000-0000-0000-0000-000000000000}"/>
          </ac:spMkLst>
        </pc:spChg>
      </pc:sldChg>
      <pc:sldChg chg="modSp">
        <pc:chgData name="Jilek, Marek" userId="S::mjilek@deloittece.com::40709bec-0fe0-40f1-94df-fe9ccd690ed1" providerId="AD" clId="Web-{2E04F94A-BC99-A510-61AE-23111113DC52}" dt="2020-01-27T10:23:16.364" v="25" actId="20577"/>
        <pc:sldMkLst>
          <pc:docMk/>
          <pc:sldMk cId="859992740" sldId="489"/>
        </pc:sldMkLst>
        <pc:spChg chg="mod">
          <ac:chgData name="Jilek, Marek" userId="S::mjilek@deloittece.com::40709bec-0fe0-40f1-94df-fe9ccd690ed1" providerId="AD" clId="Web-{2E04F94A-BC99-A510-61AE-23111113DC52}" dt="2020-01-27T10:23:16.364" v="25" actId="20577"/>
          <ac:spMkLst>
            <pc:docMk/>
            <pc:sldMk cId="859992740" sldId="489"/>
            <ac:spMk id="4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10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1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cs-CZ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20188"/>
            <a:ext cx="3170238" cy="4810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B9CBE7A-8E28-41C7-9CD8-D9DC2F602927}" type="slidenum">
              <a:rPr lang="en-GB" altLang="cs-CZ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altLang="cs-CZ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626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6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6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307205"/>
            <a:ext cx="8528936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1038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307205"/>
            <a:ext cx="8528936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2060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7903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40058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1078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80643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2783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43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677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5776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2617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5752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52270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32785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55887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5633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2462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443920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8127748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6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168174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6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700234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285850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737535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584298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847518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916970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2380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571942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78078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107210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125828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134239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10013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741524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48738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076926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611034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647481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 Pro </a:t>
            </a:r>
            <a:r>
              <a:rPr lang="en-US" sz="650" noProof="0" dirty="0" err="1">
                <a:solidFill>
                  <a:schemeClr val="bg1"/>
                </a:solidFill>
              </a:rPr>
              <a:t>více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informací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kontaktujte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r>
              <a:rPr lang="en-US" sz="650" noProof="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93673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532927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296545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398767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23462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472400" y="347024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891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20. For information, contact Deloitte Czech Republic.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99" r:id="rId41"/>
    <p:sldLayoutId id="2147483800" r:id="rId42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650" noProof="0" dirty="0">
                <a:solidFill>
                  <a:schemeClr val="bg1"/>
                </a:solidFill>
              </a:rPr>
              <a:t>© 2020 Pro více informací kontaktujte Deloitte Česká republika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0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4" r:id="rId27"/>
    <p:sldLayoutId id="2147483785" r:id="rId28"/>
    <p:sldLayoutId id="2147483786" r:id="rId29"/>
    <p:sldLayoutId id="2147483787" r:id="rId30"/>
    <p:sldLayoutId id="2147483788" r:id="rId31"/>
    <p:sldLayoutId id="2147483789" r:id="rId32"/>
    <p:sldLayoutId id="2147483790" r:id="rId33"/>
    <p:sldLayoutId id="2147483791" r:id="rId34"/>
    <p:sldLayoutId id="2147483792" r:id="rId35"/>
    <p:sldLayoutId id="2147483793" r:id="rId36"/>
    <p:sldLayoutId id="2147483794" r:id="rId37"/>
    <p:sldLayoutId id="2147483795" r:id="rId38"/>
    <p:sldLayoutId id="2147483796" r:id="rId39"/>
    <p:sldLayoutId id="2147483797" r:id="rId40"/>
    <p:sldLayoutId id="2147483798" r:id="rId4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sz="2000" dirty="0"/>
              <a:t>Panelová diskuse:</a:t>
            </a:r>
            <a:endParaRPr lang="en-US" sz="2000" dirty="0"/>
          </a:p>
          <a:p>
            <a:pPr lvl="1"/>
            <a:r>
              <a:rPr lang="cs-CZ" sz="2000" dirty="0">
                <a:solidFill>
                  <a:schemeClr val="tx1"/>
                </a:solidFill>
              </a:rPr>
              <a:t>Etika a bezpečnost jako příležitost </a:t>
            </a:r>
            <a:br>
              <a:rPr lang="cs-CZ" sz="2000" dirty="0">
                <a:solidFill>
                  <a:schemeClr val="tx1"/>
                </a:solidFill>
              </a:rPr>
            </a:br>
            <a:r>
              <a:rPr lang="cs-CZ" sz="2000" dirty="0">
                <a:solidFill>
                  <a:schemeClr val="tx1"/>
                </a:solidFill>
              </a:rPr>
              <a:t>k diferenciaci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noProof="0" dirty="0"/>
              <a:t>Igor Gricinko, 5.2.2020</a:t>
            </a:r>
            <a:endParaRPr lang="en-US" noProof="0" dirty="0"/>
          </a:p>
        </p:txBody>
      </p:sp>
      <p:pic>
        <p:nvPicPr>
          <p:cNvPr id="7" name="Obrázek 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0145" y="211858"/>
            <a:ext cx="2393237" cy="139527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fický objekt 8">
            <a:extLst>
              <a:ext uri="{FF2B5EF4-FFF2-40B4-BE49-F238E27FC236}">
                <a16:creationId xmlns:a16="http://schemas.microsoft.com/office/drawing/2014/main" id="{6B634620-00BC-47A7-BA43-C3EA9656F9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28430" y="2742196"/>
            <a:ext cx="1793670" cy="42204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1CA29715-950C-FD4C-A074-4449C3EDE1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9663" y="3587219"/>
            <a:ext cx="1661027" cy="4894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700" y="1754590"/>
            <a:ext cx="1827096" cy="564623"/>
          </a:xfrm>
          <a:prstGeom prst="rect">
            <a:avLst/>
          </a:prstGeom>
        </p:spPr>
      </p:pic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>
          <a:xfrm>
            <a:off x="3393716" y="727595"/>
            <a:ext cx="4957804" cy="4957804"/>
          </a:xfrm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84861" y="2632798"/>
            <a:ext cx="9337239" cy="1592403"/>
          </a:xfrm>
        </p:spPr>
        <p:txBody>
          <a:bodyPr/>
          <a:lstStyle/>
          <a:p>
            <a:r>
              <a:rPr lang="cs-CZ" b="0" dirty="0">
                <a:solidFill>
                  <a:schemeClr val="accent1"/>
                </a:solidFill>
              </a:rPr>
              <a:t>Panelová diskuse</a:t>
            </a:r>
            <a:br>
              <a:rPr lang="cs-CZ" b="0" dirty="0">
                <a:solidFill>
                  <a:schemeClr val="accent1"/>
                </a:solidFill>
              </a:rPr>
            </a:br>
            <a:r>
              <a:rPr lang="cs-CZ" b="0" dirty="0"/>
              <a:t>Ptejte se na Sli.do! - </a:t>
            </a:r>
            <a:r>
              <a:rPr lang="en-US" b="0" dirty="0"/>
              <a:t>#</a:t>
            </a:r>
            <a:r>
              <a:rPr lang="cs-CZ" b="0" dirty="0" err="1"/>
              <a:t>loremipsum</a:t>
            </a:r>
            <a:br>
              <a:rPr lang="cs-CZ" b="0" dirty="0"/>
            </a:br>
            <a:r>
              <a:rPr lang="cs-CZ" b="0" dirty="0"/>
              <a:t>Ptejte se dobře </a:t>
            </a:r>
            <a:r>
              <a:rPr lang="cs-CZ" b="0" dirty="0">
                <a:sym typeface="Wingdings" panose="05000000000000000000" pitchFamily="2" charset="2"/>
              </a:rPr>
              <a:t></a:t>
            </a:r>
            <a:endParaRPr lang="cs-CZ" b="0" dirty="0"/>
          </a:p>
        </p:txBody>
      </p:sp>
      <p:grpSp>
        <p:nvGrpSpPr>
          <p:cNvPr id="7" name="Group 6"/>
          <p:cNvGrpSpPr/>
          <p:nvPr/>
        </p:nvGrpSpPr>
        <p:grpSpPr>
          <a:xfrm>
            <a:off x="469900" y="2591886"/>
            <a:ext cx="1460463" cy="1672563"/>
            <a:chOff x="9812338" y="2919413"/>
            <a:chExt cx="382588" cy="438150"/>
          </a:xfrm>
          <a:solidFill>
            <a:schemeClr val="accent1"/>
          </a:solidFill>
        </p:grpSpPr>
        <p:sp>
          <p:nvSpPr>
            <p:cNvPr id="8" name="Freeform 503"/>
            <p:cNvSpPr>
              <a:spLocks noEditPoints="1"/>
            </p:cNvSpPr>
            <p:nvPr/>
          </p:nvSpPr>
          <p:spPr bwMode="auto">
            <a:xfrm>
              <a:off x="9812338" y="2919413"/>
              <a:ext cx="382588" cy="438150"/>
            </a:xfrm>
            <a:custGeom>
              <a:avLst/>
              <a:gdLst>
                <a:gd name="T0" fmla="*/ 200 w 206"/>
                <a:gd name="T1" fmla="*/ 59 h 236"/>
                <a:gd name="T2" fmla="*/ 117 w 206"/>
                <a:gd name="T3" fmla="*/ 0 h 236"/>
                <a:gd name="T4" fmla="*/ 113 w 206"/>
                <a:gd name="T5" fmla="*/ 0 h 236"/>
                <a:gd name="T6" fmla="*/ 22 w 206"/>
                <a:gd name="T7" fmla="*/ 71 h 236"/>
                <a:gd name="T8" fmla="*/ 8 w 206"/>
                <a:gd name="T9" fmla="*/ 111 h 236"/>
                <a:gd name="T10" fmla="*/ 3 w 206"/>
                <a:gd name="T11" fmla="*/ 127 h 236"/>
                <a:gd name="T12" fmla="*/ 17 w 206"/>
                <a:gd name="T13" fmla="*/ 134 h 236"/>
                <a:gd name="T14" fmla="*/ 17 w 206"/>
                <a:gd name="T15" fmla="*/ 137 h 236"/>
                <a:gd name="T16" fmla="*/ 16 w 206"/>
                <a:gd name="T17" fmla="*/ 143 h 236"/>
                <a:gd name="T18" fmla="*/ 20 w 206"/>
                <a:gd name="T19" fmla="*/ 151 h 236"/>
                <a:gd name="T20" fmla="*/ 23 w 206"/>
                <a:gd name="T21" fmla="*/ 163 h 236"/>
                <a:gd name="T22" fmla="*/ 23 w 206"/>
                <a:gd name="T23" fmla="*/ 171 h 236"/>
                <a:gd name="T24" fmla="*/ 51 w 206"/>
                <a:gd name="T25" fmla="*/ 192 h 236"/>
                <a:gd name="T26" fmla="*/ 52 w 206"/>
                <a:gd name="T27" fmla="*/ 192 h 236"/>
                <a:gd name="T28" fmla="*/ 60 w 206"/>
                <a:gd name="T29" fmla="*/ 191 h 236"/>
                <a:gd name="T30" fmla="*/ 65 w 206"/>
                <a:gd name="T31" fmla="*/ 193 h 236"/>
                <a:gd name="T32" fmla="*/ 69 w 206"/>
                <a:gd name="T33" fmla="*/ 198 h 236"/>
                <a:gd name="T34" fmla="*/ 75 w 206"/>
                <a:gd name="T35" fmla="*/ 216 h 236"/>
                <a:gd name="T36" fmla="*/ 77 w 206"/>
                <a:gd name="T37" fmla="*/ 232 h 236"/>
                <a:gd name="T38" fmla="*/ 78 w 206"/>
                <a:gd name="T39" fmla="*/ 233 h 236"/>
                <a:gd name="T40" fmla="*/ 82 w 206"/>
                <a:gd name="T41" fmla="*/ 236 h 236"/>
                <a:gd name="T42" fmla="*/ 84 w 206"/>
                <a:gd name="T43" fmla="*/ 236 h 236"/>
                <a:gd name="T44" fmla="*/ 165 w 206"/>
                <a:gd name="T45" fmla="*/ 212 h 236"/>
                <a:gd name="T46" fmla="*/ 168 w 206"/>
                <a:gd name="T47" fmla="*/ 206 h 236"/>
                <a:gd name="T48" fmla="*/ 180 w 206"/>
                <a:gd name="T49" fmla="*/ 143 h 236"/>
                <a:gd name="T50" fmla="*/ 189 w 206"/>
                <a:gd name="T51" fmla="*/ 128 h 236"/>
                <a:gd name="T52" fmla="*/ 200 w 206"/>
                <a:gd name="T53" fmla="*/ 59 h 236"/>
                <a:gd name="T54" fmla="*/ 181 w 206"/>
                <a:gd name="T55" fmla="*/ 123 h 236"/>
                <a:gd name="T56" fmla="*/ 172 w 206"/>
                <a:gd name="T57" fmla="*/ 138 h 236"/>
                <a:gd name="T58" fmla="*/ 158 w 206"/>
                <a:gd name="T59" fmla="*/ 204 h 236"/>
                <a:gd name="T60" fmla="*/ 86 w 206"/>
                <a:gd name="T61" fmla="*/ 225 h 236"/>
                <a:gd name="T62" fmla="*/ 85 w 206"/>
                <a:gd name="T63" fmla="*/ 216 h 236"/>
                <a:gd name="T64" fmla="*/ 76 w 206"/>
                <a:gd name="T65" fmla="*/ 191 h 236"/>
                <a:gd name="T66" fmla="*/ 73 w 206"/>
                <a:gd name="T67" fmla="*/ 187 h 236"/>
                <a:gd name="T68" fmla="*/ 60 w 206"/>
                <a:gd name="T69" fmla="*/ 181 h 236"/>
                <a:gd name="T70" fmla="*/ 51 w 206"/>
                <a:gd name="T71" fmla="*/ 182 h 236"/>
                <a:gd name="T72" fmla="*/ 50 w 206"/>
                <a:gd name="T73" fmla="*/ 183 h 236"/>
                <a:gd name="T74" fmla="*/ 33 w 206"/>
                <a:gd name="T75" fmla="*/ 171 h 236"/>
                <a:gd name="T76" fmla="*/ 29 w 206"/>
                <a:gd name="T77" fmla="*/ 156 h 236"/>
                <a:gd name="T78" fmla="*/ 30 w 206"/>
                <a:gd name="T79" fmla="*/ 153 h 236"/>
                <a:gd name="T80" fmla="*/ 30 w 206"/>
                <a:gd name="T81" fmla="*/ 152 h 236"/>
                <a:gd name="T82" fmla="*/ 31 w 206"/>
                <a:gd name="T83" fmla="*/ 148 h 236"/>
                <a:gd name="T84" fmla="*/ 28 w 206"/>
                <a:gd name="T85" fmla="*/ 145 h 236"/>
                <a:gd name="T86" fmla="*/ 25 w 206"/>
                <a:gd name="T87" fmla="*/ 143 h 236"/>
                <a:gd name="T88" fmla="*/ 26 w 206"/>
                <a:gd name="T89" fmla="*/ 140 h 236"/>
                <a:gd name="T90" fmla="*/ 28 w 206"/>
                <a:gd name="T91" fmla="*/ 131 h 236"/>
                <a:gd name="T92" fmla="*/ 24 w 206"/>
                <a:gd name="T93" fmla="*/ 125 h 236"/>
                <a:gd name="T94" fmla="*/ 18 w 206"/>
                <a:gd name="T95" fmla="*/ 125 h 236"/>
                <a:gd name="T96" fmla="*/ 12 w 206"/>
                <a:gd name="T97" fmla="*/ 124 h 236"/>
                <a:gd name="T98" fmla="*/ 15 w 206"/>
                <a:gd name="T99" fmla="*/ 118 h 236"/>
                <a:gd name="T100" fmla="*/ 32 w 206"/>
                <a:gd name="T101" fmla="*/ 72 h 236"/>
                <a:gd name="T102" fmla="*/ 113 w 206"/>
                <a:gd name="T103" fmla="*/ 10 h 236"/>
                <a:gd name="T104" fmla="*/ 117 w 206"/>
                <a:gd name="T105" fmla="*/ 10 h 236"/>
                <a:gd name="T106" fmla="*/ 191 w 206"/>
                <a:gd name="T107" fmla="*/ 60 h 236"/>
                <a:gd name="T108" fmla="*/ 181 w 206"/>
                <a:gd name="T109" fmla="*/ 12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6" h="236">
                  <a:moveTo>
                    <a:pt x="200" y="59"/>
                  </a:moveTo>
                  <a:cubicBezTo>
                    <a:pt x="193" y="11"/>
                    <a:pt x="128" y="0"/>
                    <a:pt x="117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34" y="0"/>
                    <a:pt x="24" y="54"/>
                    <a:pt x="22" y="71"/>
                  </a:cubicBezTo>
                  <a:cubicBezTo>
                    <a:pt x="21" y="82"/>
                    <a:pt x="16" y="103"/>
                    <a:pt x="8" y="111"/>
                  </a:cubicBezTo>
                  <a:cubicBezTo>
                    <a:pt x="6" y="114"/>
                    <a:pt x="0" y="120"/>
                    <a:pt x="3" y="127"/>
                  </a:cubicBezTo>
                  <a:cubicBezTo>
                    <a:pt x="5" y="134"/>
                    <a:pt x="13" y="134"/>
                    <a:pt x="17" y="134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6" y="139"/>
                    <a:pt x="16" y="141"/>
                    <a:pt x="16" y="143"/>
                  </a:cubicBezTo>
                  <a:cubicBezTo>
                    <a:pt x="16" y="147"/>
                    <a:pt x="17" y="149"/>
                    <a:pt x="20" y="151"/>
                  </a:cubicBezTo>
                  <a:cubicBezTo>
                    <a:pt x="18" y="156"/>
                    <a:pt x="19" y="160"/>
                    <a:pt x="23" y="163"/>
                  </a:cubicBezTo>
                  <a:cubicBezTo>
                    <a:pt x="23" y="164"/>
                    <a:pt x="23" y="165"/>
                    <a:pt x="23" y="171"/>
                  </a:cubicBezTo>
                  <a:cubicBezTo>
                    <a:pt x="23" y="187"/>
                    <a:pt x="39" y="194"/>
                    <a:pt x="51" y="192"/>
                  </a:cubicBezTo>
                  <a:cubicBezTo>
                    <a:pt x="52" y="192"/>
                    <a:pt x="52" y="192"/>
                    <a:pt x="52" y="192"/>
                  </a:cubicBezTo>
                  <a:cubicBezTo>
                    <a:pt x="55" y="192"/>
                    <a:pt x="58" y="191"/>
                    <a:pt x="60" y="191"/>
                  </a:cubicBezTo>
                  <a:cubicBezTo>
                    <a:pt x="63" y="191"/>
                    <a:pt x="64" y="192"/>
                    <a:pt x="65" y="193"/>
                  </a:cubicBezTo>
                  <a:cubicBezTo>
                    <a:pt x="66" y="195"/>
                    <a:pt x="68" y="196"/>
                    <a:pt x="69" y="198"/>
                  </a:cubicBezTo>
                  <a:cubicBezTo>
                    <a:pt x="73" y="202"/>
                    <a:pt x="75" y="205"/>
                    <a:pt x="75" y="216"/>
                  </a:cubicBezTo>
                  <a:cubicBezTo>
                    <a:pt x="75" y="226"/>
                    <a:pt x="77" y="230"/>
                    <a:pt x="77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8" y="235"/>
                    <a:pt x="80" y="236"/>
                    <a:pt x="82" y="236"/>
                  </a:cubicBezTo>
                  <a:cubicBezTo>
                    <a:pt x="83" y="236"/>
                    <a:pt x="83" y="236"/>
                    <a:pt x="84" y="236"/>
                  </a:cubicBezTo>
                  <a:cubicBezTo>
                    <a:pt x="165" y="212"/>
                    <a:pt x="165" y="212"/>
                    <a:pt x="165" y="212"/>
                  </a:cubicBezTo>
                  <a:cubicBezTo>
                    <a:pt x="167" y="211"/>
                    <a:pt x="169" y="209"/>
                    <a:pt x="168" y="206"/>
                  </a:cubicBezTo>
                  <a:cubicBezTo>
                    <a:pt x="166" y="191"/>
                    <a:pt x="168" y="164"/>
                    <a:pt x="180" y="143"/>
                  </a:cubicBezTo>
                  <a:cubicBezTo>
                    <a:pt x="184" y="137"/>
                    <a:pt x="186" y="132"/>
                    <a:pt x="189" y="128"/>
                  </a:cubicBezTo>
                  <a:cubicBezTo>
                    <a:pt x="203" y="103"/>
                    <a:pt x="206" y="99"/>
                    <a:pt x="200" y="59"/>
                  </a:cubicBezTo>
                  <a:close/>
                  <a:moveTo>
                    <a:pt x="181" y="123"/>
                  </a:moveTo>
                  <a:cubicBezTo>
                    <a:pt x="178" y="127"/>
                    <a:pt x="175" y="132"/>
                    <a:pt x="172" y="138"/>
                  </a:cubicBezTo>
                  <a:cubicBezTo>
                    <a:pt x="160" y="160"/>
                    <a:pt x="157" y="186"/>
                    <a:pt x="158" y="204"/>
                  </a:cubicBezTo>
                  <a:cubicBezTo>
                    <a:pt x="86" y="225"/>
                    <a:pt x="86" y="225"/>
                    <a:pt x="86" y="225"/>
                  </a:cubicBezTo>
                  <a:cubicBezTo>
                    <a:pt x="85" y="223"/>
                    <a:pt x="85" y="220"/>
                    <a:pt x="85" y="216"/>
                  </a:cubicBezTo>
                  <a:cubicBezTo>
                    <a:pt x="85" y="202"/>
                    <a:pt x="81" y="197"/>
                    <a:pt x="76" y="191"/>
                  </a:cubicBezTo>
                  <a:cubicBezTo>
                    <a:pt x="75" y="190"/>
                    <a:pt x="74" y="189"/>
                    <a:pt x="73" y="187"/>
                  </a:cubicBezTo>
                  <a:cubicBezTo>
                    <a:pt x="69" y="182"/>
                    <a:pt x="64" y="181"/>
                    <a:pt x="60" y="181"/>
                  </a:cubicBezTo>
                  <a:cubicBezTo>
                    <a:pt x="57" y="181"/>
                    <a:pt x="54" y="182"/>
                    <a:pt x="51" y="182"/>
                  </a:cubicBezTo>
                  <a:cubicBezTo>
                    <a:pt x="50" y="183"/>
                    <a:pt x="50" y="183"/>
                    <a:pt x="50" y="183"/>
                  </a:cubicBezTo>
                  <a:cubicBezTo>
                    <a:pt x="42" y="184"/>
                    <a:pt x="33" y="180"/>
                    <a:pt x="33" y="171"/>
                  </a:cubicBezTo>
                  <a:cubicBezTo>
                    <a:pt x="33" y="161"/>
                    <a:pt x="32" y="159"/>
                    <a:pt x="29" y="156"/>
                  </a:cubicBezTo>
                  <a:cubicBezTo>
                    <a:pt x="29" y="155"/>
                    <a:pt x="28" y="155"/>
                    <a:pt x="30" y="153"/>
                  </a:cubicBezTo>
                  <a:cubicBezTo>
                    <a:pt x="30" y="153"/>
                    <a:pt x="30" y="152"/>
                    <a:pt x="30" y="152"/>
                  </a:cubicBezTo>
                  <a:cubicBezTo>
                    <a:pt x="31" y="151"/>
                    <a:pt x="31" y="149"/>
                    <a:pt x="31" y="148"/>
                  </a:cubicBezTo>
                  <a:cubicBezTo>
                    <a:pt x="30" y="146"/>
                    <a:pt x="29" y="145"/>
                    <a:pt x="28" y="145"/>
                  </a:cubicBezTo>
                  <a:cubicBezTo>
                    <a:pt x="25" y="144"/>
                    <a:pt x="25" y="144"/>
                    <a:pt x="25" y="143"/>
                  </a:cubicBezTo>
                  <a:cubicBezTo>
                    <a:pt x="25" y="142"/>
                    <a:pt x="26" y="141"/>
                    <a:pt x="26" y="140"/>
                  </a:cubicBezTo>
                  <a:cubicBezTo>
                    <a:pt x="27" y="138"/>
                    <a:pt x="27" y="136"/>
                    <a:pt x="28" y="131"/>
                  </a:cubicBezTo>
                  <a:cubicBezTo>
                    <a:pt x="28" y="128"/>
                    <a:pt x="26" y="126"/>
                    <a:pt x="24" y="125"/>
                  </a:cubicBezTo>
                  <a:cubicBezTo>
                    <a:pt x="22" y="125"/>
                    <a:pt x="20" y="125"/>
                    <a:pt x="18" y="125"/>
                  </a:cubicBezTo>
                  <a:cubicBezTo>
                    <a:pt x="15" y="125"/>
                    <a:pt x="12" y="125"/>
                    <a:pt x="12" y="124"/>
                  </a:cubicBezTo>
                  <a:cubicBezTo>
                    <a:pt x="11" y="123"/>
                    <a:pt x="12" y="121"/>
                    <a:pt x="15" y="118"/>
                  </a:cubicBezTo>
                  <a:cubicBezTo>
                    <a:pt x="28" y="105"/>
                    <a:pt x="32" y="72"/>
                    <a:pt x="32" y="72"/>
                  </a:cubicBezTo>
                  <a:cubicBezTo>
                    <a:pt x="37" y="14"/>
                    <a:pt x="95" y="10"/>
                    <a:pt x="113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5" y="10"/>
                    <a:pt x="185" y="19"/>
                    <a:pt x="191" y="60"/>
                  </a:cubicBezTo>
                  <a:cubicBezTo>
                    <a:pt x="196" y="97"/>
                    <a:pt x="194" y="100"/>
                    <a:pt x="181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504"/>
            <p:cNvSpPr>
              <a:spLocks noEditPoints="1"/>
            </p:cNvSpPr>
            <p:nvPr/>
          </p:nvSpPr>
          <p:spPr bwMode="auto">
            <a:xfrm>
              <a:off x="9985375" y="3032125"/>
              <a:ext cx="84138" cy="82550"/>
            </a:xfrm>
            <a:custGeom>
              <a:avLst/>
              <a:gdLst>
                <a:gd name="T0" fmla="*/ 22 w 45"/>
                <a:gd name="T1" fmla="*/ 0 h 44"/>
                <a:gd name="T2" fmla="*/ 0 w 45"/>
                <a:gd name="T3" fmla="*/ 22 h 44"/>
                <a:gd name="T4" fmla="*/ 22 w 45"/>
                <a:gd name="T5" fmla="*/ 44 h 44"/>
                <a:gd name="T6" fmla="*/ 45 w 45"/>
                <a:gd name="T7" fmla="*/ 22 h 44"/>
                <a:gd name="T8" fmla="*/ 22 w 45"/>
                <a:gd name="T9" fmla="*/ 0 h 44"/>
                <a:gd name="T10" fmla="*/ 22 w 45"/>
                <a:gd name="T11" fmla="*/ 35 h 44"/>
                <a:gd name="T12" fmla="*/ 10 w 45"/>
                <a:gd name="T13" fmla="*/ 22 h 44"/>
                <a:gd name="T14" fmla="*/ 22 w 45"/>
                <a:gd name="T15" fmla="*/ 10 h 44"/>
                <a:gd name="T16" fmla="*/ 35 w 45"/>
                <a:gd name="T17" fmla="*/ 22 h 44"/>
                <a:gd name="T18" fmla="*/ 22 w 45"/>
                <a:gd name="T19" fmla="*/ 3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4"/>
                    <a:pt x="22" y="44"/>
                  </a:cubicBezTo>
                  <a:cubicBezTo>
                    <a:pt x="35" y="44"/>
                    <a:pt x="45" y="35"/>
                    <a:pt x="45" y="22"/>
                  </a:cubicBezTo>
                  <a:cubicBezTo>
                    <a:pt x="45" y="10"/>
                    <a:pt x="35" y="0"/>
                    <a:pt x="22" y="0"/>
                  </a:cubicBezTo>
                  <a:close/>
                  <a:moveTo>
                    <a:pt x="22" y="35"/>
                  </a:moveTo>
                  <a:cubicBezTo>
                    <a:pt x="16" y="35"/>
                    <a:pt x="10" y="29"/>
                    <a:pt x="10" y="22"/>
                  </a:cubicBezTo>
                  <a:cubicBezTo>
                    <a:pt x="10" y="15"/>
                    <a:pt x="16" y="10"/>
                    <a:pt x="22" y="10"/>
                  </a:cubicBezTo>
                  <a:cubicBezTo>
                    <a:pt x="29" y="10"/>
                    <a:pt x="35" y="15"/>
                    <a:pt x="35" y="22"/>
                  </a:cubicBezTo>
                  <a:cubicBezTo>
                    <a:pt x="35" y="29"/>
                    <a:pt x="29" y="35"/>
                    <a:pt x="2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505"/>
            <p:cNvSpPr>
              <a:spLocks noEditPoints="1"/>
            </p:cNvSpPr>
            <p:nvPr/>
          </p:nvSpPr>
          <p:spPr bwMode="auto">
            <a:xfrm>
              <a:off x="9931400" y="2978150"/>
              <a:ext cx="192088" cy="192088"/>
            </a:xfrm>
            <a:custGeom>
              <a:avLst/>
              <a:gdLst>
                <a:gd name="T0" fmla="*/ 89 w 103"/>
                <a:gd name="T1" fmla="*/ 39 h 103"/>
                <a:gd name="T2" fmla="*/ 93 w 103"/>
                <a:gd name="T3" fmla="*/ 26 h 103"/>
                <a:gd name="T4" fmla="*/ 83 w 103"/>
                <a:gd name="T5" fmla="*/ 10 h 103"/>
                <a:gd name="T6" fmla="*/ 69 w 103"/>
                <a:gd name="T7" fmla="*/ 16 h 103"/>
                <a:gd name="T8" fmla="*/ 63 w 103"/>
                <a:gd name="T9" fmla="*/ 4 h 103"/>
                <a:gd name="T10" fmla="*/ 44 w 103"/>
                <a:gd name="T11" fmla="*/ 0 h 103"/>
                <a:gd name="T12" fmla="*/ 39 w 103"/>
                <a:gd name="T13" fmla="*/ 14 h 103"/>
                <a:gd name="T14" fmla="*/ 26 w 103"/>
                <a:gd name="T15" fmla="*/ 10 h 103"/>
                <a:gd name="T16" fmla="*/ 15 w 103"/>
                <a:gd name="T17" fmla="*/ 15 h 103"/>
                <a:gd name="T18" fmla="*/ 10 w 103"/>
                <a:gd name="T19" fmla="*/ 20 h 103"/>
                <a:gd name="T20" fmla="*/ 16 w 103"/>
                <a:gd name="T21" fmla="*/ 34 h 103"/>
                <a:gd name="T22" fmla="*/ 5 w 103"/>
                <a:gd name="T23" fmla="*/ 40 h 103"/>
                <a:gd name="T24" fmla="*/ 0 w 103"/>
                <a:gd name="T25" fmla="*/ 51 h 103"/>
                <a:gd name="T26" fmla="*/ 0 w 103"/>
                <a:gd name="T27" fmla="*/ 58 h 103"/>
                <a:gd name="T28" fmla="*/ 14 w 103"/>
                <a:gd name="T29" fmla="*/ 64 h 103"/>
                <a:gd name="T30" fmla="*/ 10 w 103"/>
                <a:gd name="T31" fmla="*/ 77 h 103"/>
                <a:gd name="T32" fmla="*/ 15 w 103"/>
                <a:gd name="T33" fmla="*/ 87 h 103"/>
                <a:gd name="T34" fmla="*/ 20 w 103"/>
                <a:gd name="T35" fmla="*/ 93 h 103"/>
                <a:gd name="T36" fmla="*/ 34 w 103"/>
                <a:gd name="T37" fmla="*/ 87 h 103"/>
                <a:gd name="T38" fmla="*/ 40 w 103"/>
                <a:gd name="T39" fmla="*/ 98 h 103"/>
                <a:gd name="T40" fmla="*/ 51 w 103"/>
                <a:gd name="T41" fmla="*/ 103 h 103"/>
                <a:gd name="T42" fmla="*/ 63 w 103"/>
                <a:gd name="T43" fmla="*/ 98 h 103"/>
                <a:gd name="T44" fmla="*/ 69 w 103"/>
                <a:gd name="T45" fmla="*/ 87 h 103"/>
                <a:gd name="T46" fmla="*/ 83 w 103"/>
                <a:gd name="T47" fmla="*/ 92 h 103"/>
                <a:gd name="T48" fmla="*/ 93 w 103"/>
                <a:gd name="T49" fmla="*/ 77 h 103"/>
                <a:gd name="T50" fmla="*/ 89 w 103"/>
                <a:gd name="T51" fmla="*/ 64 h 103"/>
                <a:gd name="T52" fmla="*/ 103 w 103"/>
                <a:gd name="T53" fmla="*/ 58 h 103"/>
                <a:gd name="T54" fmla="*/ 103 w 103"/>
                <a:gd name="T55" fmla="*/ 44 h 103"/>
                <a:gd name="T56" fmla="*/ 93 w 103"/>
                <a:gd name="T57" fmla="*/ 54 h 103"/>
                <a:gd name="T58" fmla="*/ 80 w 103"/>
                <a:gd name="T59" fmla="*/ 58 h 103"/>
                <a:gd name="T60" fmla="*/ 77 w 103"/>
                <a:gd name="T61" fmla="*/ 72 h 103"/>
                <a:gd name="T62" fmla="*/ 80 w 103"/>
                <a:gd name="T63" fmla="*/ 83 h 103"/>
                <a:gd name="T64" fmla="*/ 67 w 103"/>
                <a:gd name="T65" fmla="*/ 77 h 103"/>
                <a:gd name="T66" fmla="*/ 55 w 103"/>
                <a:gd name="T67" fmla="*/ 84 h 103"/>
                <a:gd name="T68" fmla="*/ 49 w 103"/>
                <a:gd name="T69" fmla="*/ 93 h 103"/>
                <a:gd name="T70" fmla="*/ 44 w 103"/>
                <a:gd name="T71" fmla="*/ 80 h 103"/>
                <a:gd name="T72" fmla="*/ 30 w 103"/>
                <a:gd name="T73" fmla="*/ 77 h 103"/>
                <a:gd name="T74" fmla="*/ 22 w 103"/>
                <a:gd name="T75" fmla="*/ 81 h 103"/>
                <a:gd name="T76" fmla="*/ 20 w 103"/>
                <a:gd name="T77" fmla="*/ 79 h 103"/>
                <a:gd name="T78" fmla="*/ 26 w 103"/>
                <a:gd name="T79" fmla="*/ 67 h 103"/>
                <a:gd name="T80" fmla="*/ 18 w 103"/>
                <a:gd name="T81" fmla="*/ 55 h 103"/>
                <a:gd name="T82" fmla="*/ 10 w 103"/>
                <a:gd name="T83" fmla="*/ 52 h 103"/>
                <a:gd name="T84" fmla="*/ 10 w 103"/>
                <a:gd name="T85" fmla="*/ 49 h 103"/>
                <a:gd name="T86" fmla="*/ 23 w 103"/>
                <a:gd name="T87" fmla="*/ 44 h 103"/>
                <a:gd name="T88" fmla="*/ 26 w 103"/>
                <a:gd name="T89" fmla="*/ 30 h 103"/>
                <a:gd name="T90" fmla="*/ 21 w 103"/>
                <a:gd name="T91" fmla="*/ 22 h 103"/>
                <a:gd name="T92" fmla="*/ 23 w 103"/>
                <a:gd name="T93" fmla="*/ 20 h 103"/>
                <a:gd name="T94" fmla="*/ 36 w 103"/>
                <a:gd name="T95" fmla="*/ 26 h 103"/>
                <a:gd name="T96" fmla="*/ 48 w 103"/>
                <a:gd name="T97" fmla="*/ 18 h 103"/>
                <a:gd name="T98" fmla="*/ 54 w 103"/>
                <a:gd name="T99" fmla="*/ 9 h 103"/>
                <a:gd name="T100" fmla="*/ 58 w 103"/>
                <a:gd name="T101" fmla="*/ 22 h 103"/>
                <a:gd name="T102" fmla="*/ 72 w 103"/>
                <a:gd name="T103" fmla="*/ 26 h 103"/>
                <a:gd name="T104" fmla="*/ 83 w 103"/>
                <a:gd name="T105" fmla="*/ 23 h 103"/>
                <a:gd name="T106" fmla="*/ 77 w 103"/>
                <a:gd name="T107" fmla="*/ 36 h 103"/>
                <a:gd name="T108" fmla="*/ 84 w 103"/>
                <a:gd name="T109" fmla="*/ 48 h 103"/>
                <a:gd name="T110" fmla="*/ 93 w 103"/>
                <a:gd name="T111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" h="103">
                  <a:moveTo>
                    <a:pt x="98" y="40"/>
                  </a:moveTo>
                  <a:cubicBezTo>
                    <a:pt x="89" y="39"/>
                    <a:pt x="89" y="39"/>
                    <a:pt x="89" y="39"/>
                  </a:cubicBezTo>
                  <a:cubicBezTo>
                    <a:pt x="88" y="37"/>
                    <a:pt x="88" y="35"/>
                    <a:pt x="87" y="34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4"/>
                    <a:pt x="94" y="22"/>
                    <a:pt x="93" y="20"/>
                  </a:cubicBezTo>
                  <a:cubicBezTo>
                    <a:pt x="90" y="16"/>
                    <a:pt x="86" y="13"/>
                    <a:pt x="83" y="10"/>
                  </a:cubicBezTo>
                  <a:cubicBezTo>
                    <a:pt x="81" y="9"/>
                    <a:pt x="78" y="9"/>
                    <a:pt x="77" y="10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7" y="15"/>
                    <a:pt x="66" y="15"/>
                    <a:pt x="64" y="1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2" y="2"/>
                    <a:pt x="61" y="1"/>
                    <a:pt x="59" y="0"/>
                  </a:cubicBezTo>
                  <a:cubicBezTo>
                    <a:pt x="54" y="0"/>
                    <a:pt x="49" y="0"/>
                    <a:pt x="44" y="0"/>
                  </a:cubicBezTo>
                  <a:cubicBezTo>
                    <a:pt x="42" y="1"/>
                    <a:pt x="41" y="2"/>
                    <a:pt x="40" y="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7" y="15"/>
                    <a:pt x="36" y="15"/>
                    <a:pt x="34" y="16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9"/>
                    <a:pt x="22" y="9"/>
                    <a:pt x="20" y="10"/>
                  </a:cubicBezTo>
                  <a:cubicBezTo>
                    <a:pt x="19" y="11"/>
                    <a:pt x="17" y="13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3" y="17"/>
                    <a:pt x="12" y="19"/>
                    <a:pt x="10" y="20"/>
                  </a:cubicBezTo>
                  <a:cubicBezTo>
                    <a:pt x="9" y="22"/>
                    <a:pt x="9" y="24"/>
                    <a:pt x="10" y="26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5" y="35"/>
                    <a:pt x="15" y="37"/>
                    <a:pt x="14" y="39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1" y="42"/>
                    <a:pt x="0" y="44"/>
                  </a:cubicBezTo>
                  <a:cubicBezTo>
                    <a:pt x="0" y="46"/>
                    <a:pt x="0" y="48"/>
                    <a:pt x="0" y="5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0" y="56"/>
                    <a:pt x="0" y="58"/>
                  </a:cubicBezTo>
                  <a:cubicBezTo>
                    <a:pt x="1" y="61"/>
                    <a:pt x="2" y="62"/>
                    <a:pt x="5" y="6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5" y="66"/>
                    <a:pt x="15" y="67"/>
                    <a:pt x="16" y="69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9" y="78"/>
                    <a:pt x="9" y="81"/>
                    <a:pt x="10" y="82"/>
                  </a:cubicBezTo>
                  <a:cubicBezTo>
                    <a:pt x="12" y="84"/>
                    <a:pt x="13" y="86"/>
                    <a:pt x="15" y="87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7" y="90"/>
                    <a:pt x="19" y="91"/>
                    <a:pt x="20" y="93"/>
                  </a:cubicBezTo>
                  <a:cubicBezTo>
                    <a:pt x="22" y="94"/>
                    <a:pt x="25" y="94"/>
                    <a:pt x="26" y="92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6" y="87"/>
                    <a:pt x="37" y="88"/>
                    <a:pt x="39" y="8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41" y="100"/>
                    <a:pt x="42" y="102"/>
                    <a:pt x="44" y="102"/>
                  </a:cubicBezTo>
                  <a:cubicBezTo>
                    <a:pt x="47" y="103"/>
                    <a:pt x="49" y="103"/>
                    <a:pt x="51" y="103"/>
                  </a:cubicBezTo>
                  <a:cubicBezTo>
                    <a:pt x="54" y="103"/>
                    <a:pt x="56" y="103"/>
                    <a:pt x="59" y="102"/>
                  </a:cubicBezTo>
                  <a:cubicBezTo>
                    <a:pt x="61" y="102"/>
                    <a:pt x="62" y="100"/>
                    <a:pt x="63" y="98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6" y="88"/>
                    <a:pt x="67" y="87"/>
                    <a:pt x="69" y="87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8" y="94"/>
                    <a:pt x="81" y="94"/>
                    <a:pt x="83" y="92"/>
                  </a:cubicBezTo>
                  <a:cubicBezTo>
                    <a:pt x="86" y="90"/>
                    <a:pt x="90" y="86"/>
                    <a:pt x="93" y="82"/>
                  </a:cubicBezTo>
                  <a:cubicBezTo>
                    <a:pt x="94" y="81"/>
                    <a:pt x="94" y="78"/>
                    <a:pt x="93" y="77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8" y="67"/>
                    <a:pt x="88" y="66"/>
                    <a:pt x="89" y="64"/>
                  </a:cubicBezTo>
                  <a:cubicBezTo>
                    <a:pt x="98" y="63"/>
                    <a:pt x="98" y="63"/>
                    <a:pt x="98" y="63"/>
                  </a:cubicBezTo>
                  <a:cubicBezTo>
                    <a:pt x="101" y="62"/>
                    <a:pt x="102" y="61"/>
                    <a:pt x="103" y="58"/>
                  </a:cubicBezTo>
                  <a:cubicBezTo>
                    <a:pt x="103" y="56"/>
                    <a:pt x="103" y="54"/>
                    <a:pt x="103" y="51"/>
                  </a:cubicBezTo>
                  <a:cubicBezTo>
                    <a:pt x="103" y="49"/>
                    <a:pt x="103" y="47"/>
                    <a:pt x="103" y="44"/>
                  </a:cubicBezTo>
                  <a:cubicBezTo>
                    <a:pt x="102" y="42"/>
                    <a:pt x="101" y="40"/>
                    <a:pt x="98" y="40"/>
                  </a:cubicBezTo>
                  <a:close/>
                  <a:moveTo>
                    <a:pt x="93" y="54"/>
                  </a:moveTo>
                  <a:cubicBezTo>
                    <a:pt x="84" y="55"/>
                    <a:pt x="84" y="55"/>
                    <a:pt x="84" y="55"/>
                  </a:cubicBezTo>
                  <a:cubicBezTo>
                    <a:pt x="83" y="55"/>
                    <a:pt x="81" y="56"/>
                    <a:pt x="80" y="58"/>
                  </a:cubicBezTo>
                  <a:cubicBezTo>
                    <a:pt x="80" y="61"/>
                    <a:pt x="79" y="64"/>
                    <a:pt x="77" y="67"/>
                  </a:cubicBezTo>
                  <a:cubicBezTo>
                    <a:pt x="76" y="69"/>
                    <a:pt x="76" y="71"/>
                    <a:pt x="77" y="72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2" y="80"/>
                    <a:pt x="81" y="82"/>
                    <a:pt x="80" y="83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1" y="76"/>
                    <a:pt x="69" y="76"/>
                    <a:pt x="67" y="77"/>
                  </a:cubicBezTo>
                  <a:cubicBezTo>
                    <a:pt x="64" y="78"/>
                    <a:pt x="61" y="80"/>
                    <a:pt x="58" y="80"/>
                  </a:cubicBezTo>
                  <a:cubicBezTo>
                    <a:pt x="57" y="81"/>
                    <a:pt x="55" y="82"/>
                    <a:pt x="55" y="84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2" y="93"/>
                    <a:pt x="51" y="93"/>
                    <a:pt x="49" y="93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2"/>
                    <a:pt x="46" y="81"/>
                    <a:pt x="44" y="80"/>
                  </a:cubicBezTo>
                  <a:cubicBezTo>
                    <a:pt x="41" y="80"/>
                    <a:pt x="39" y="78"/>
                    <a:pt x="36" y="77"/>
                  </a:cubicBezTo>
                  <a:cubicBezTo>
                    <a:pt x="34" y="76"/>
                    <a:pt x="32" y="76"/>
                    <a:pt x="30" y="77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3" y="82"/>
                    <a:pt x="23" y="82"/>
                    <a:pt x="22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0"/>
                    <a:pt x="21" y="80"/>
                    <a:pt x="20" y="79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7" y="71"/>
                    <a:pt x="27" y="69"/>
                    <a:pt x="26" y="67"/>
                  </a:cubicBezTo>
                  <a:cubicBezTo>
                    <a:pt x="24" y="64"/>
                    <a:pt x="23" y="61"/>
                    <a:pt x="23" y="58"/>
                  </a:cubicBezTo>
                  <a:cubicBezTo>
                    <a:pt x="22" y="56"/>
                    <a:pt x="20" y="55"/>
                    <a:pt x="18" y="55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2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0" y="48"/>
                    <a:pt x="22" y="46"/>
                    <a:pt x="23" y="44"/>
                  </a:cubicBezTo>
                  <a:cubicBezTo>
                    <a:pt x="23" y="41"/>
                    <a:pt x="24" y="38"/>
                    <a:pt x="26" y="36"/>
                  </a:cubicBezTo>
                  <a:cubicBezTo>
                    <a:pt x="27" y="34"/>
                    <a:pt x="27" y="32"/>
                    <a:pt x="26" y="30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3"/>
                    <a:pt x="21" y="22"/>
                    <a:pt x="21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3" y="21"/>
                    <a:pt x="23" y="21"/>
                    <a:pt x="23" y="20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2" y="27"/>
                    <a:pt x="34" y="27"/>
                    <a:pt x="36" y="26"/>
                  </a:cubicBezTo>
                  <a:cubicBezTo>
                    <a:pt x="39" y="24"/>
                    <a:pt x="41" y="23"/>
                    <a:pt x="44" y="22"/>
                  </a:cubicBezTo>
                  <a:cubicBezTo>
                    <a:pt x="46" y="22"/>
                    <a:pt x="48" y="20"/>
                    <a:pt x="48" y="18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1" y="9"/>
                    <a:pt x="52" y="9"/>
                    <a:pt x="54" y="9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20"/>
                    <a:pt x="57" y="22"/>
                    <a:pt x="58" y="22"/>
                  </a:cubicBezTo>
                  <a:cubicBezTo>
                    <a:pt x="61" y="23"/>
                    <a:pt x="64" y="24"/>
                    <a:pt x="67" y="26"/>
                  </a:cubicBezTo>
                  <a:cubicBezTo>
                    <a:pt x="69" y="27"/>
                    <a:pt x="71" y="27"/>
                    <a:pt x="72" y="26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1" y="21"/>
                    <a:pt x="82" y="22"/>
                    <a:pt x="83" y="23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6" y="32"/>
                    <a:pt x="76" y="34"/>
                    <a:pt x="77" y="36"/>
                  </a:cubicBezTo>
                  <a:cubicBezTo>
                    <a:pt x="79" y="38"/>
                    <a:pt x="80" y="41"/>
                    <a:pt x="80" y="44"/>
                  </a:cubicBezTo>
                  <a:cubicBezTo>
                    <a:pt x="81" y="46"/>
                    <a:pt x="83" y="48"/>
                    <a:pt x="84" y="48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3" y="50"/>
                    <a:pt x="93" y="51"/>
                    <a:pt x="93" y="51"/>
                  </a:cubicBezTo>
                  <a:cubicBezTo>
                    <a:pt x="93" y="52"/>
                    <a:pt x="93" y="53"/>
                    <a:pt x="9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9482440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anelová diskuse</a:t>
            </a:r>
          </a:p>
        </p:txBody>
      </p:sp>
      <p:sp>
        <p:nvSpPr>
          <p:cNvPr id="5" name="Rectangle 4"/>
          <p:cNvSpPr/>
          <p:nvPr/>
        </p:nvSpPr>
        <p:spPr>
          <a:xfrm>
            <a:off x="2374900" y="1537077"/>
            <a:ext cx="660786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Kryštof Kruliš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Vladimír Děd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Michal Hanáč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Pavel Fl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Marek Jílek</a:t>
            </a:r>
          </a:p>
        </p:txBody>
      </p:sp>
      <p:sp>
        <p:nvSpPr>
          <p:cNvPr id="6" name="Freeform 287"/>
          <p:cNvSpPr>
            <a:spLocks noEditPoints="1"/>
          </p:cNvSpPr>
          <p:nvPr/>
        </p:nvSpPr>
        <p:spPr bwMode="auto">
          <a:xfrm flipH="1">
            <a:off x="1690687" y="1818479"/>
            <a:ext cx="503238" cy="404813"/>
          </a:xfrm>
          <a:custGeom>
            <a:avLst/>
            <a:gdLst>
              <a:gd name="T0" fmla="*/ 192 w 238"/>
              <a:gd name="T1" fmla="*/ 51 h 192"/>
              <a:gd name="T2" fmla="*/ 183 w 238"/>
              <a:gd name="T3" fmla="*/ 51 h 192"/>
              <a:gd name="T4" fmla="*/ 138 w 238"/>
              <a:gd name="T5" fmla="*/ 15 h 192"/>
              <a:gd name="T6" fmla="*/ 127 w 238"/>
              <a:gd name="T7" fmla="*/ 16 h 192"/>
              <a:gd name="T8" fmla="*/ 87 w 238"/>
              <a:gd name="T9" fmla="*/ 0 h 192"/>
              <a:gd name="T10" fmla="*/ 24 w 238"/>
              <a:gd name="T11" fmla="*/ 57 h 192"/>
              <a:gd name="T12" fmla="*/ 0 w 238"/>
              <a:gd name="T13" fmla="*/ 94 h 192"/>
              <a:gd name="T14" fmla="*/ 44 w 238"/>
              <a:gd name="T15" fmla="*/ 137 h 192"/>
              <a:gd name="T16" fmla="*/ 63 w 238"/>
              <a:gd name="T17" fmla="*/ 137 h 192"/>
              <a:gd name="T18" fmla="*/ 63 w 238"/>
              <a:gd name="T19" fmla="*/ 187 h 192"/>
              <a:gd name="T20" fmla="*/ 66 w 238"/>
              <a:gd name="T21" fmla="*/ 192 h 192"/>
              <a:gd name="T22" fmla="*/ 68 w 238"/>
              <a:gd name="T23" fmla="*/ 192 h 192"/>
              <a:gd name="T24" fmla="*/ 71 w 238"/>
              <a:gd name="T25" fmla="*/ 190 h 192"/>
              <a:gd name="T26" fmla="*/ 120 w 238"/>
              <a:gd name="T27" fmla="*/ 137 h 192"/>
              <a:gd name="T28" fmla="*/ 192 w 238"/>
              <a:gd name="T29" fmla="*/ 137 h 192"/>
              <a:gd name="T30" fmla="*/ 238 w 238"/>
              <a:gd name="T31" fmla="*/ 94 h 192"/>
              <a:gd name="T32" fmla="*/ 192 w 238"/>
              <a:gd name="T33" fmla="*/ 51 h 192"/>
              <a:gd name="T34" fmla="*/ 192 w 238"/>
              <a:gd name="T35" fmla="*/ 127 h 192"/>
              <a:gd name="T36" fmla="*/ 118 w 238"/>
              <a:gd name="T37" fmla="*/ 127 h 192"/>
              <a:gd name="T38" fmla="*/ 115 w 238"/>
              <a:gd name="T39" fmla="*/ 129 h 192"/>
              <a:gd name="T40" fmla="*/ 72 w 238"/>
              <a:gd name="T41" fmla="*/ 175 h 192"/>
              <a:gd name="T42" fmla="*/ 73 w 238"/>
              <a:gd name="T43" fmla="*/ 132 h 192"/>
              <a:gd name="T44" fmla="*/ 71 w 238"/>
              <a:gd name="T45" fmla="*/ 129 h 192"/>
              <a:gd name="T46" fmla="*/ 68 w 238"/>
              <a:gd name="T47" fmla="*/ 127 h 192"/>
              <a:gd name="T48" fmla="*/ 44 w 238"/>
              <a:gd name="T49" fmla="*/ 127 h 192"/>
              <a:gd name="T50" fmla="*/ 10 w 238"/>
              <a:gd name="T51" fmla="*/ 94 h 192"/>
              <a:gd name="T52" fmla="*/ 31 w 238"/>
              <a:gd name="T53" fmla="*/ 64 h 192"/>
              <a:gd name="T54" fmla="*/ 33 w 238"/>
              <a:gd name="T55" fmla="*/ 60 h 192"/>
              <a:gd name="T56" fmla="*/ 87 w 238"/>
              <a:gd name="T57" fmla="*/ 10 h 192"/>
              <a:gd name="T58" fmla="*/ 123 w 238"/>
              <a:gd name="T59" fmla="*/ 25 h 192"/>
              <a:gd name="T60" fmla="*/ 127 w 238"/>
              <a:gd name="T61" fmla="*/ 26 h 192"/>
              <a:gd name="T62" fmla="*/ 138 w 238"/>
              <a:gd name="T63" fmla="*/ 25 h 192"/>
              <a:gd name="T64" fmla="*/ 175 w 238"/>
              <a:gd name="T65" fmla="*/ 58 h 192"/>
              <a:gd name="T66" fmla="*/ 177 w 238"/>
              <a:gd name="T67" fmla="*/ 61 h 192"/>
              <a:gd name="T68" fmla="*/ 181 w 238"/>
              <a:gd name="T69" fmla="*/ 62 h 192"/>
              <a:gd name="T70" fmla="*/ 192 w 238"/>
              <a:gd name="T71" fmla="*/ 60 h 192"/>
              <a:gd name="T72" fmla="*/ 228 w 238"/>
              <a:gd name="T73" fmla="*/ 94 h 192"/>
              <a:gd name="T74" fmla="*/ 192 w 238"/>
              <a:gd name="T75" fmla="*/ 12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38" h="192">
                <a:moveTo>
                  <a:pt x="192" y="51"/>
                </a:moveTo>
                <a:cubicBezTo>
                  <a:pt x="189" y="51"/>
                  <a:pt x="186" y="51"/>
                  <a:pt x="183" y="51"/>
                </a:cubicBezTo>
                <a:cubicBezTo>
                  <a:pt x="178" y="31"/>
                  <a:pt x="160" y="15"/>
                  <a:pt x="138" y="15"/>
                </a:cubicBezTo>
                <a:cubicBezTo>
                  <a:pt x="135" y="15"/>
                  <a:pt x="131" y="16"/>
                  <a:pt x="127" y="16"/>
                </a:cubicBezTo>
                <a:cubicBezTo>
                  <a:pt x="115" y="5"/>
                  <a:pt x="102" y="0"/>
                  <a:pt x="87" y="0"/>
                </a:cubicBezTo>
                <a:cubicBezTo>
                  <a:pt x="55" y="0"/>
                  <a:pt x="29" y="24"/>
                  <a:pt x="24" y="57"/>
                </a:cubicBezTo>
                <a:cubicBezTo>
                  <a:pt x="10" y="65"/>
                  <a:pt x="0" y="80"/>
                  <a:pt x="0" y="94"/>
                </a:cubicBezTo>
                <a:cubicBezTo>
                  <a:pt x="0" y="117"/>
                  <a:pt x="20" y="137"/>
                  <a:pt x="44" y="137"/>
                </a:cubicBezTo>
                <a:cubicBezTo>
                  <a:pt x="63" y="137"/>
                  <a:pt x="63" y="137"/>
                  <a:pt x="63" y="137"/>
                </a:cubicBezTo>
                <a:cubicBezTo>
                  <a:pt x="63" y="187"/>
                  <a:pt x="63" y="187"/>
                  <a:pt x="63" y="187"/>
                </a:cubicBezTo>
                <a:cubicBezTo>
                  <a:pt x="63" y="189"/>
                  <a:pt x="64" y="191"/>
                  <a:pt x="66" y="192"/>
                </a:cubicBezTo>
                <a:cubicBezTo>
                  <a:pt x="66" y="192"/>
                  <a:pt x="67" y="192"/>
                  <a:pt x="68" y="192"/>
                </a:cubicBezTo>
                <a:cubicBezTo>
                  <a:pt x="69" y="192"/>
                  <a:pt x="70" y="191"/>
                  <a:pt x="71" y="190"/>
                </a:cubicBezTo>
                <a:cubicBezTo>
                  <a:pt x="120" y="137"/>
                  <a:pt x="120" y="137"/>
                  <a:pt x="120" y="137"/>
                </a:cubicBezTo>
                <a:cubicBezTo>
                  <a:pt x="192" y="137"/>
                  <a:pt x="192" y="137"/>
                  <a:pt x="192" y="137"/>
                </a:cubicBezTo>
                <a:cubicBezTo>
                  <a:pt x="216" y="137"/>
                  <a:pt x="238" y="117"/>
                  <a:pt x="238" y="94"/>
                </a:cubicBezTo>
                <a:cubicBezTo>
                  <a:pt x="238" y="71"/>
                  <a:pt x="216" y="51"/>
                  <a:pt x="192" y="51"/>
                </a:cubicBezTo>
                <a:close/>
                <a:moveTo>
                  <a:pt x="192" y="127"/>
                </a:moveTo>
                <a:cubicBezTo>
                  <a:pt x="118" y="127"/>
                  <a:pt x="118" y="127"/>
                  <a:pt x="118" y="127"/>
                </a:cubicBezTo>
                <a:cubicBezTo>
                  <a:pt x="117" y="127"/>
                  <a:pt x="115" y="128"/>
                  <a:pt x="115" y="129"/>
                </a:cubicBezTo>
                <a:cubicBezTo>
                  <a:pt x="72" y="175"/>
                  <a:pt x="72" y="175"/>
                  <a:pt x="72" y="175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1"/>
                  <a:pt x="72" y="129"/>
                  <a:pt x="71" y="129"/>
                </a:cubicBezTo>
                <a:cubicBezTo>
                  <a:pt x="70" y="128"/>
                  <a:pt x="69" y="127"/>
                  <a:pt x="68" y="127"/>
                </a:cubicBezTo>
                <a:cubicBezTo>
                  <a:pt x="44" y="127"/>
                  <a:pt x="44" y="127"/>
                  <a:pt x="44" y="127"/>
                </a:cubicBezTo>
                <a:cubicBezTo>
                  <a:pt x="23" y="127"/>
                  <a:pt x="10" y="110"/>
                  <a:pt x="10" y="94"/>
                </a:cubicBezTo>
                <a:cubicBezTo>
                  <a:pt x="10" y="82"/>
                  <a:pt x="18" y="70"/>
                  <a:pt x="31" y="64"/>
                </a:cubicBezTo>
                <a:cubicBezTo>
                  <a:pt x="32" y="63"/>
                  <a:pt x="33" y="62"/>
                  <a:pt x="33" y="60"/>
                </a:cubicBezTo>
                <a:cubicBezTo>
                  <a:pt x="36" y="31"/>
                  <a:pt x="59" y="10"/>
                  <a:pt x="87" y="10"/>
                </a:cubicBezTo>
                <a:cubicBezTo>
                  <a:pt x="100" y="10"/>
                  <a:pt x="112" y="15"/>
                  <a:pt x="123" y="25"/>
                </a:cubicBezTo>
                <a:cubicBezTo>
                  <a:pt x="124" y="26"/>
                  <a:pt x="126" y="27"/>
                  <a:pt x="127" y="26"/>
                </a:cubicBezTo>
                <a:cubicBezTo>
                  <a:pt x="130" y="26"/>
                  <a:pt x="135" y="25"/>
                  <a:pt x="138" y="25"/>
                </a:cubicBezTo>
                <a:cubicBezTo>
                  <a:pt x="157" y="25"/>
                  <a:pt x="172" y="39"/>
                  <a:pt x="175" y="58"/>
                </a:cubicBezTo>
                <a:cubicBezTo>
                  <a:pt x="175" y="59"/>
                  <a:pt x="175" y="60"/>
                  <a:pt x="177" y="61"/>
                </a:cubicBezTo>
                <a:cubicBezTo>
                  <a:pt x="178" y="62"/>
                  <a:pt x="179" y="62"/>
                  <a:pt x="181" y="62"/>
                </a:cubicBezTo>
                <a:cubicBezTo>
                  <a:pt x="184" y="61"/>
                  <a:pt x="188" y="60"/>
                  <a:pt x="192" y="60"/>
                </a:cubicBezTo>
                <a:cubicBezTo>
                  <a:pt x="211" y="60"/>
                  <a:pt x="228" y="76"/>
                  <a:pt x="228" y="94"/>
                </a:cubicBezTo>
                <a:cubicBezTo>
                  <a:pt x="228" y="112"/>
                  <a:pt x="211" y="127"/>
                  <a:pt x="192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287"/>
          <p:cNvSpPr>
            <a:spLocks noEditPoints="1"/>
          </p:cNvSpPr>
          <p:nvPr/>
        </p:nvSpPr>
        <p:spPr bwMode="auto">
          <a:xfrm flipH="1">
            <a:off x="1690687" y="2547828"/>
            <a:ext cx="503238" cy="404813"/>
          </a:xfrm>
          <a:custGeom>
            <a:avLst/>
            <a:gdLst>
              <a:gd name="T0" fmla="*/ 192 w 238"/>
              <a:gd name="T1" fmla="*/ 51 h 192"/>
              <a:gd name="T2" fmla="*/ 183 w 238"/>
              <a:gd name="T3" fmla="*/ 51 h 192"/>
              <a:gd name="T4" fmla="*/ 138 w 238"/>
              <a:gd name="T5" fmla="*/ 15 h 192"/>
              <a:gd name="T6" fmla="*/ 127 w 238"/>
              <a:gd name="T7" fmla="*/ 16 h 192"/>
              <a:gd name="T8" fmla="*/ 87 w 238"/>
              <a:gd name="T9" fmla="*/ 0 h 192"/>
              <a:gd name="T10" fmla="*/ 24 w 238"/>
              <a:gd name="T11" fmla="*/ 57 h 192"/>
              <a:gd name="T12" fmla="*/ 0 w 238"/>
              <a:gd name="T13" fmla="*/ 94 h 192"/>
              <a:gd name="T14" fmla="*/ 44 w 238"/>
              <a:gd name="T15" fmla="*/ 137 h 192"/>
              <a:gd name="T16" fmla="*/ 63 w 238"/>
              <a:gd name="T17" fmla="*/ 137 h 192"/>
              <a:gd name="T18" fmla="*/ 63 w 238"/>
              <a:gd name="T19" fmla="*/ 187 h 192"/>
              <a:gd name="T20" fmla="*/ 66 w 238"/>
              <a:gd name="T21" fmla="*/ 192 h 192"/>
              <a:gd name="T22" fmla="*/ 68 w 238"/>
              <a:gd name="T23" fmla="*/ 192 h 192"/>
              <a:gd name="T24" fmla="*/ 71 w 238"/>
              <a:gd name="T25" fmla="*/ 190 h 192"/>
              <a:gd name="T26" fmla="*/ 120 w 238"/>
              <a:gd name="T27" fmla="*/ 137 h 192"/>
              <a:gd name="T28" fmla="*/ 192 w 238"/>
              <a:gd name="T29" fmla="*/ 137 h 192"/>
              <a:gd name="T30" fmla="*/ 238 w 238"/>
              <a:gd name="T31" fmla="*/ 94 h 192"/>
              <a:gd name="T32" fmla="*/ 192 w 238"/>
              <a:gd name="T33" fmla="*/ 51 h 192"/>
              <a:gd name="T34" fmla="*/ 192 w 238"/>
              <a:gd name="T35" fmla="*/ 127 h 192"/>
              <a:gd name="T36" fmla="*/ 118 w 238"/>
              <a:gd name="T37" fmla="*/ 127 h 192"/>
              <a:gd name="T38" fmla="*/ 115 w 238"/>
              <a:gd name="T39" fmla="*/ 129 h 192"/>
              <a:gd name="T40" fmla="*/ 72 w 238"/>
              <a:gd name="T41" fmla="*/ 175 h 192"/>
              <a:gd name="T42" fmla="*/ 73 w 238"/>
              <a:gd name="T43" fmla="*/ 132 h 192"/>
              <a:gd name="T44" fmla="*/ 71 w 238"/>
              <a:gd name="T45" fmla="*/ 129 h 192"/>
              <a:gd name="T46" fmla="*/ 68 w 238"/>
              <a:gd name="T47" fmla="*/ 127 h 192"/>
              <a:gd name="T48" fmla="*/ 44 w 238"/>
              <a:gd name="T49" fmla="*/ 127 h 192"/>
              <a:gd name="T50" fmla="*/ 10 w 238"/>
              <a:gd name="T51" fmla="*/ 94 h 192"/>
              <a:gd name="T52" fmla="*/ 31 w 238"/>
              <a:gd name="T53" fmla="*/ 64 h 192"/>
              <a:gd name="T54" fmla="*/ 33 w 238"/>
              <a:gd name="T55" fmla="*/ 60 h 192"/>
              <a:gd name="T56" fmla="*/ 87 w 238"/>
              <a:gd name="T57" fmla="*/ 10 h 192"/>
              <a:gd name="T58" fmla="*/ 123 w 238"/>
              <a:gd name="T59" fmla="*/ 25 h 192"/>
              <a:gd name="T60" fmla="*/ 127 w 238"/>
              <a:gd name="T61" fmla="*/ 26 h 192"/>
              <a:gd name="T62" fmla="*/ 138 w 238"/>
              <a:gd name="T63" fmla="*/ 25 h 192"/>
              <a:gd name="T64" fmla="*/ 175 w 238"/>
              <a:gd name="T65" fmla="*/ 58 h 192"/>
              <a:gd name="T66" fmla="*/ 177 w 238"/>
              <a:gd name="T67" fmla="*/ 61 h 192"/>
              <a:gd name="T68" fmla="*/ 181 w 238"/>
              <a:gd name="T69" fmla="*/ 62 h 192"/>
              <a:gd name="T70" fmla="*/ 192 w 238"/>
              <a:gd name="T71" fmla="*/ 60 h 192"/>
              <a:gd name="T72" fmla="*/ 228 w 238"/>
              <a:gd name="T73" fmla="*/ 94 h 192"/>
              <a:gd name="T74" fmla="*/ 192 w 238"/>
              <a:gd name="T75" fmla="*/ 12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38" h="192">
                <a:moveTo>
                  <a:pt x="192" y="51"/>
                </a:moveTo>
                <a:cubicBezTo>
                  <a:pt x="189" y="51"/>
                  <a:pt x="186" y="51"/>
                  <a:pt x="183" y="51"/>
                </a:cubicBezTo>
                <a:cubicBezTo>
                  <a:pt x="178" y="31"/>
                  <a:pt x="160" y="15"/>
                  <a:pt x="138" y="15"/>
                </a:cubicBezTo>
                <a:cubicBezTo>
                  <a:pt x="135" y="15"/>
                  <a:pt x="131" y="16"/>
                  <a:pt x="127" y="16"/>
                </a:cubicBezTo>
                <a:cubicBezTo>
                  <a:pt x="115" y="5"/>
                  <a:pt x="102" y="0"/>
                  <a:pt x="87" y="0"/>
                </a:cubicBezTo>
                <a:cubicBezTo>
                  <a:pt x="55" y="0"/>
                  <a:pt x="29" y="24"/>
                  <a:pt x="24" y="57"/>
                </a:cubicBezTo>
                <a:cubicBezTo>
                  <a:pt x="10" y="65"/>
                  <a:pt x="0" y="80"/>
                  <a:pt x="0" y="94"/>
                </a:cubicBezTo>
                <a:cubicBezTo>
                  <a:pt x="0" y="117"/>
                  <a:pt x="20" y="137"/>
                  <a:pt x="44" y="137"/>
                </a:cubicBezTo>
                <a:cubicBezTo>
                  <a:pt x="63" y="137"/>
                  <a:pt x="63" y="137"/>
                  <a:pt x="63" y="137"/>
                </a:cubicBezTo>
                <a:cubicBezTo>
                  <a:pt x="63" y="187"/>
                  <a:pt x="63" y="187"/>
                  <a:pt x="63" y="187"/>
                </a:cubicBezTo>
                <a:cubicBezTo>
                  <a:pt x="63" y="189"/>
                  <a:pt x="64" y="191"/>
                  <a:pt x="66" y="192"/>
                </a:cubicBezTo>
                <a:cubicBezTo>
                  <a:pt x="66" y="192"/>
                  <a:pt x="67" y="192"/>
                  <a:pt x="68" y="192"/>
                </a:cubicBezTo>
                <a:cubicBezTo>
                  <a:pt x="69" y="192"/>
                  <a:pt x="70" y="191"/>
                  <a:pt x="71" y="190"/>
                </a:cubicBezTo>
                <a:cubicBezTo>
                  <a:pt x="120" y="137"/>
                  <a:pt x="120" y="137"/>
                  <a:pt x="120" y="137"/>
                </a:cubicBezTo>
                <a:cubicBezTo>
                  <a:pt x="192" y="137"/>
                  <a:pt x="192" y="137"/>
                  <a:pt x="192" y="137"/>
                </a:cubicBezTo>
                <a:cubicBezTo>
                  <a:pt x="216" y="137"/>
                  <a:pt x="238" y="117"/>
                  <a:pt x="238" y="94"/>
                </a:cubicBezTo>
                <a:cubicBezTo>
                  <a:pt x="238" y="71"/>
                  <a:pt x="216" y="51"/>
                  <a:pt x="192" y="51"/>
                </a:cubicBezTo>
                <a:close/>
                <a:moveTo>
                  <a:pt x="192" y="127"/>
                </a:moveTo>
                <a:cubicBezTo>
                  <a:pt x="118" y="127"/>
                  <a:pt x="118" y="127"/>
                  <a:pt x="118" y="127"/>
                </a:cubicBezTo>
                <a:cubicBezTo>
                  <a:pt x="117" y="127"/>
                  <a:pt x="115" y="128"/>
                  <a:pt x="115" y="129"/>
                </a:cubicBezTo>
                <a:cubicBezTo>
                  <a:pt x="72" y="175"/>
                  <a:pt x="72" y="175"/>
                  <a:pt x="72" y="175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1"/>
                  <a:pt x="72" y="129"/>
                  <a:pt x="71" y="129"/>
                </a:cubicBezTo>
                <a:cubicBezTo>
                  <a:pt x="70" y="128"/>
                  <a:pt x="69" y="127"/>
                  <a:pt x="68" y="127"/>
                </a:cubicBezTo>
                <a:cubicBezTo>
                  <a:pt x="44" y="127"/>
                  <a:pt x="44" y="127"/>
                  <a:pt x="44" y="127"/>
                </a:cubicBezTo>
                <a:cubicBezTo>
                  <a:pt x="23" y="127"/>
                  <a:pt x="10" y="110"/>
                  <a:pt x="10" y="94"/>
                </a:cubicBezTo>
                <a:cubicBezTo>
                  <a:pt x="10" y="82"/>
                  <a:pt x="18" y="70"/>
                  <a:pt x="31" y="64"/>
                </a:cubicBezTo>
                <a:cubicBezTo>
                  <a:pt x="32" y="63"/>
                  <a:pt x="33" y="62"/>
                  <a:pt x="33" y="60"/>
                </a:cubicBezTo>
                <a:cubicBezTo>
                  <a:pt x="36" y="31"/>
                  <a:pt x="59" y="10"/>
                  <a:pt x="87" y="10"/>
                </a:cubicBezTo>
                <a:cubicBezTo>
                  <a:pt x="100" y="10"/>
                  <a:pt x="112" y="15"/>
                  <a:pt x="123" y="25"/>
                </a:cubicBezTo>
                <a:cubicBezTo>
                  <a:pt x="124" y="26"/>
                  <a:pt x="126" y="27"/>
                  <a:pt x="127" y="26"/>
                </a:cubicBezTo>
                <a:cubicBezTo>
                  <a:pt x="130" y="26"/>
                  <a:pt x="135" y="25"/>
                  <a:pt x="138" y="25"/>
                </a:cubicBezTo>
                <a:cubicBezTo>
                  <a:pt x="157" y="25"/>
                  <a:pt x="172" y="39"/>
                  <a:pt x="175" y="58"/>
                </a:cubicBezTo>
                <a:cubicBezTo>
                  <a:pt x="175" y="59"/>
                  <a:pt x="175" y="60"/>
                  <a:pt x="177" y="61"/>
                </a:cubicBezTo>
                <a:cubicBezTo>
                  <a:pt x="178" y="62"/>
                  <a:pt x="179" y="62"/>
                  <a:pt x="181" y="62"/>
                </a:cubicBezTo>
                <a:cubicBezTo>
                  <a:pt x="184" y="61"/>
                  <a:pt x="188" y="60"/>
                  <a:pt x="192" y="60"/>
                </a:cubicBezTo>
                <a:cubicBezTo>
                  <a:pt x="211" y="60"/>
                  <a:pt x="228" y="76"/>
                  <a:pt x="228" y="94"/>
                </a:cubicBezTo>
                <a:cubicBezTo>
                  <a:pt x="228" y="112"/>
                  <a:pt x="211" y="127"/>
                  <a:pt x="192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287"/>
          <p:cNvSpPr>
            <a:spLocks noEditPoints="1"/>
          </p:cNvSpPr>
          <p:nvPr/>
        </p:nvSpPr>
        <p:spPr bwMode="auto">
          <a:xfrm flipH="1">
            <a:off x="1690687" y="3277177"/>
            <a:ext cx="503238" cy="404813"/>
          </a:xfrm>
          <a:custGeom>
            <a:avLst/>
            <a:gdLst>
              <a:gd name="T0" fmla="*/ 192 w 238"/>
              <a:gd name="T1" fmla="*/ 51 h 192"/>
              <a:gd name="T2" fmla="*/ 183 w 238"/>
              <a:gd name="T3" fmla="*/ 51 h 192"/>
              <a:gd name="T4" fmla="*/ 138 w 238"/>
              <a:gd name="T5" fmla="*/ 15 h 192"/>
              <a:gd name="T6" fmla="*/ 127 w 238"/>
              <a:gd name="T7" fmla="*/ 16 h 192"/>
              <a:gd name="T8" fmla="*/ 87 w 238"/>
              <a:gd name="T9" fmla="*/ 0 h 192"/>
              <a:gd name="T10" fmla="*/ 24 w 238"/>
              <a:gd name="T11" fmla="*/ 57 h 192"/>
              <a:gd name="T12" fmla="*/ 0 w 238"/>
              <a:gd name="T13" fmla="*/ 94 h 192"/>
              <a:gd name="T14" fmla="*/ 44 w 238"/>
              <a:gd name="T15" fmla="*/ 137 h 192"/>
              <a:gd name="T16" fmla="*/ 63 w 238"/>
              <a:gd name="T17" fmla="*/ 137 h 192"/>
              <a:gd name="T18" fmla="*/ 63 w 238"/>
              <a:gd name="T19" fmla="*/ 187 h 192"/>
              <a:gd name="T20" fmla="*/ 66 w 238"/>
              <a:gd name="T21" fmla="*/ 192 h 192"/>
              <a:gd name="T22" fmla="*/ 68 w 238"/>
              <a:gd name="T23" fmla="*/ 192 h 192"/>
              <a:gd name="T24" fmla="*/ 71 w 238"/>
              <a:gd name="T25" fmla="*/ 190 h 192"/>
              <a:gd name="T26" fmla="*/ 120 w 238"/>
              <a:gd name="T27" fmla="*/ 137 h 192"/>
              <a:gd name="T28" fmla="*/ 192 w 238"/>
              <a:gd name="T29" fmla="*/ 137 h 192"/>
              <a:gd name="T30" fmla="*/ 238 w 238"/>
              <a:gd name="T31" fmla="*/ 94 h 192"/>
              <a:gd name="T32" fmla="*/ 192 w 238"/>
              <a:gd name="T33" fmla="*/ 51 h 192"/>
              <a:gd name="T34" fmla="*/ 192 w 238"/>
              <a:gd name="T35" fmla="*/ 127 h 192"/>
              <a:gd name="T36" fmla="*/ 118 w 238"/>
              <a:gd name="T37" fmla="*/ 127 h 192"/>
              <a:gd name="T38" fmla="*/ 115 w 238"/>
              <a:gd name="T39" fmla="*/ 129 h 192"/>
              <a:gd name="T40" fmla="*/ 72 w 238"/>
              <a:gd name="T41" fmla="*/ 175 h 192"/>
              <a:gd name="T42" fmla="*/ 73 w 238"/>
              <a:gd name="T43" fmla="*/ 132 h 192"/>
              <a:gd name="T44" fmla="*/ 71 w 238"/>
              <a:gd name="T45" fmla="*/ 129 h 192"/>
              <a:gd name="T46" fmla="*/ 68 w 238"/>
              <a:gd name="T47" fmla="*/ 127 h 192"/>
              <a:gd name="T48" fmla="*/ 44 w 238"/>
              <a:gd name="T49" fmla="*/ 127 h 192"/>
              <a:gd name="T50" fmla="*/ 10 w 238"/>
              <a:gd name="T51" fmla="*/ 94 h 192"/>
              <a:gd name="T52" fmla="*/ 31 w 238"/>
              <a:gd name="T53" fmla="*/ 64 h 192"/>
              <a:gd name="T54" fmla="*/ 33 w 238"/>
              <a:gd name="T55" fmla="*/ 60 h 192"/>
              <a:gd name="T56" fmla="*/ 87 w 238"/>
              <a:gd name="T57" fmla="*/ 10 h 192"/>
              <a:gd name="T58" fmla="*/ 123 w 238"/>
              <a:gd name="T59" fmla="*/ 25 h 192"/>
              <a:gd name="T60" fmla="*/ 127 w 238"/>
              <a:gd name="T61" fmla="*/ 26 h 192"/>
              <a:gd name="T62" fmla="*/ 138 w 238"/>
              <a:gd name="T63" fmla="*/ 25 h 192"/>
              <a:gd name="T64" fmla="*/ 175 w 238"/>
              <a:gd name="T65" fmla="*/ 58 h 192"/>
              <a:gd name="T66" fmla="*/ 177 w 238"/>
              <a:gd name="T67" fmla="*/ 61 h 192"/>
              <a:gd name="T68" fmla="*/ 181 w 238"/>
              <a:gd name="T69" fmla="*/ 62 h 192"/>
              <a:gd name="T70" fmla="*/ 192 w 238"/>
              <a:gd name="T71" fmla="*/ 60 h 192"/>
              <a:gd name="T72" fmla="*/ 228 w 238"/>
              <a:gd name="T73" fmla="*/ 94 h 192"/>
              <a:gd name="T74" fmla="*/ 192 w 238"/>
              <a:gd name="T75" fmla="*/ 12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38" h="192">
                <a:moveTo>
                  <a:pt x="192" y="51"/>
                </a:moveTo>
                <a:cubicBezTo>
                  <a:pt x="189" y="51"/>
                  <a:pt x="186" y="51"/>
                  <a:pt x="183" y="51"/>
                </a:cubicBezTo>
                <a:cubicBezTo>
                  <a:pt x="178" y="31"/>
                  <a:pt x="160" y="15"/>
                  <a:pt x="138" y="15"/>
                </a:cubicBezTo>
                <a:cubicBezTo>
                  <a:pt x="135" y="15"/>
                  <a:pt x="131" y="16"/>
                  <a:pt x="127" y="16"/>
                </a:cubicBezTo>
                <a:cubicBezTo>
                  <a:pt x="115" y="5"/>
                  <a:pt x="102" y="0"/>
                  <a:pt x="87" y="0"/>
                </a:cubicBezTo>
                <a:cubicBezTo>
                  <a:pt x="55" y="0"/>
                  <a:pt x="29" y="24"/>
                  <a:pt x="24" y="57"/>
                </a:cubicBezTo>
                <a:cubicBezTo>
                  <a:pt x="10" y="65"/>
                  <a:pt x="0" y="80"/>
                  <a:pt x="0" y="94"/>
                </a:cubicBezTo>
                <a:cubicBezTo>
                  <a:pt x="0" y="117"/>
                  <a:pt x="20" y="137"/>
                  <a:pt x="44" y="137"/>
                </a:cubicBezTo>
                <a:cubicBezTo>
                  <a:pt x="63" y="137"/>
                  <a:pt x="63" y="137"/>
                  <a:pt x="63" y="137"/>
                </a:cubicBezTo>
                <a:cubicBezTo>
                  <a:pt x="63" y="187"/>
                  <a:pt x="63" y="187"/>
                  <a:pt x="63" y="187"/>
                </a:cubicBezTo>
                <a:cubicBezTo>
                  <a:pt x="63" y="189"/>
                  <a:pt x="64" y="191"/>
                  <a:pt x="66" y="192"/>
                </a:cubicBezTo>
                <a:cubicBezTo>
                  <a:pt x="66" y="192"/>
                  <a:pt x="67" y="192"/>
                  <a:pt x="68" y="192"/>
                </a:cubicBezTo>
                <a:cubicBezTo>
                  <a:pt x="69" y="192"/>
                  <a:pt x="70" y="191"/>
                  <a:pt x="71" y="190"/>
                </a:cubicBezTo>
                <a:cubicBezTo>
                  <a:pt x="120" y="137"/>
                  <a:pt x="120" y="137"/>
                  <a:pt x="120" y="137"/>
                </a:cubicBezTo>
                <a:cubicBezTo>
                  <a:pt x="192" y="137"/>
                  <a:pt x="192" y="137"/>
                  <a:pt x="192" y="137"/>
                </a:cubicBezTo>
                <a:cubicBezTo>
                  <a:pt x="216" y="137"/>
                  <a:pt x="238" y="117"/>
                  <a:pt x="238" y="94"/>
                </a:cubicBezTo>
                <a:cubicBezTo>
                  <a:pt x="238" y="71"/>
                  <a:pt x="216" y="51"/>
                  <a:pt x="192" y="51"/>
                </a:cubicBezTo>
                <a:close/>
                <a:moveTo>
                  <a:pt x="192" y="127"/>
                </a:moveTo>
                <a:cubicBezTo>
                  <a:pt x="118" y="127"/>
                  <a:pt x="118" y="127"/>
                  <a:pt x="118" y="127"/>
                </a:cubicBezTo>
                <a:cubicBezTo>
                  <a:pt x="117" y="127"/>
                  <a:pt x="115" y="128"/>
                  <a:pt x="115" y="129"/>
                </a:cubicBezTo>
                <a:cubicBezTo>
                  <a:pt x="72" y="175"/>
                  <a:pt x="72" y="175"/>
                  <a:pt x="72" y="175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1"/>
                  <a:pt x="72" y="129"/>
                  <a:pt x="71" y="129"/>
                </a:cubicBezTo>
                <a:cubicBezTo>
                  <a:pt x="70" y="128"/>
                  <a:pt x="69" y="127"/>
                  <a:pt x="68" y="127"/>
                </a:cubicBezTo>
                <a:cubicBezTo>
                  <a:pt x="44" y="127"/>
                  <a:pt x="44" y="127"/>
                  <a:pt x="44" y="127"/>
                </a:cubicBezTo>
                <a:cubicBezTo>
                  <a:pt x="23" y="127"/>
                  <a:pt x="10" y="110"/>
                  <a:pt x="10" y="94"/>
                </a:cubicBezTo>
                <a:cubicBezTo>
                  <a:pt x="10" y="82"/>
                  <a:pt x="18" y="70"/>
                  <a:pt x="31" y="64"/>
                </a:cubicBezTo>
                <a:cubicBezTo>
                  <a:pt x="32" y="63"/>
                  <a:pt x="33" y="62"/>
                  <a:pt x="33" y="60"/>
                </a:cubicBezTo>
                <a:cubicBezTo>
                  <a:pt x="36" y="31"/>
                  <a:pt x="59" y="10"/>
                  <a:pt x="87" y="10"/>
                </a:cubicBezTo>
                <a:cubicBezTo>
                  <a:pt x="100" y="10"/>
                  <a:pt x="112" y="15"/>
                  <a:pt x="123" y="25"/>
                </a:cubicBezTo>
                <a:cubicBezTo>
                  <a:pt x="124" y="26"/>
                  <a:pt x="126" y="27"/>
                  <a:pt x="127" y="26"/>
                </a:cubicBezTo>
                <a:cubicBezTo>
                  <a:pt x="130" y="26"/>
                  <a:pt x="135" y="25"/>
                  <a:pt x="138" y="25"/>
                </a:cubicBezTo>
                <a:cubicBezTo>
                  <a:pt x="157" y="25"/>
                  <a:pt x="172" y="39"/>
                  <a:pt x="175" y="58"/>
                </a:cubicBezTo>
                <a:cubicBezTo>
                  <a:pt x="175" y="59"/>
                  <a:pt x="175" y="60"/>
                  <a:pt x="177" y="61"/>
                </a:cubicBezTo>
                <a:cubicBezTo>
                  <a:pt x="178" y="62"/>
                  <a:pt x="179" y="62"/>
                  <a:pt x="181" y="62"/>
                </a:cubicBezTo>
                <a:cubicBezTo>
                  <a:pt x="184" y="61"/>
                  <a:pt x="188" y="60"/>
                  <a:pt x="192" y="60"/>
                </a:cubicBezTo>
                <a:cubicBezTo>
                  <a:pt x="211" y="60"/>
                  <a:pt x="228" y="76"/>
                  <a:pt x="228" y="94"/>
                </a:cubicBezTo>
                <a:cubicBezTo>
                  <a:pt x="228" y="112"/>
                  <a:pt x="211" y="127"/>
                  <a:pt x="192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87"/>
          <p:cNvSpPr>
            <a:spLocks noEditPoints="1"/>
          </p:cNvSpPr>
          <p:nvPr/>
        </p:nvSpPr>
        <p:spPr bwMode="auto">
          <a:xfrm flipH="1">
            <a:off x="1690687" y="4006526"/>
            <a:ext cx="503238" cy="404813"/>
          </a:xfrm>
          <a:custGeom>
            <a:avLst/>
            <a:gdLst>
              <a:gd name="T0" fmla="*/ 192 w 238"/>
              <a:gd name="T1" fmla="*/ 51 h 192"/>
              <a:gd name="T2" fmla="*/ 183 w 238"/>
              <a:gd name="T3" fmla="*/ 51 h 192"/>
              <a:gd name="T4" fmla="*/ 138 w 238"/>
              <a:gd name="T5" fmla="*/ 15 h 192"/>
              <a:gd name="T6" fmla="*/ 127 w 238"/>
              <a:gd name="T7" fmla="*/ 16 h 192"/>
              <a:gd name="T8" fmla="*/ 87 w 238"/>
              <a:gd name="T9" fmla="*/ 0 h 192"/>
              <a:gd name="T10" fmla="*/ 24 w 238"/>
              <a:gd name="T11" fmla="*/ 57 h 192"/>
              <a:gd name="T12" fmla="*/ 0 w 238"/>
              <a:gd name="T13" fmla="*/ 94 h 192"/>
              <a:gd name="T14" fmla="*/ 44 w 238"/>
              <a:gd name="T15" fmla="*/ 137 h 192"/>
              <a:gd name="T16" fmla="*/ 63 w 238"/>
              <a:gd name="T17" fmla="*/ 137 h 192"/>
              <a:gd name="T18" fmla="*/ 63 w 238"/>
              <a:gd name="T19" fmla="*/ 187 h 192"/>
              <a:gd name="T20" fmla="*/ 66 w 238"/>
              <a:gd name="T21" fmla="*/ 192 h 192"/>
              <a:gd name="T22" fmla="*/ 68 w 238"/>
              <a:gd name="T23" fmla="*/ 192 h 192"/>
              <a:gd name="T24" fmla="*/ 71 w 238"/>
              <a:gd name="T25" fmla="*/ 190 h 192"/>
              <a:gd name="T26" fmla="*/ 120 w 238"/>
              <a:gd name="T27" fmla="*/ 137 h 192"/>
              <a:gd name="T28" fmla="*/ 192 w 238"/>
              <a:gd name="T29" fmla="*/ 137 h 192"/>
              <a:gd name="T30" fmla="*/ 238 w 238"/>
              <a:gd name="T31" fmla="*/ 94 h 192"/>
              <a:gd name="T32" fmla="*/ 192 w 238"/>
              <a:gd name="T33" fmla="*/ 51 h 192"/>
              <a:gd name="T34" fmla="*/ 192 w 238"/>
              <a:gd name="T35" fmla="*/ 127 h 192"/>
              <a:gd name="T36" fmla="*/ 118 w 238"/>
              <a:gd name="T37" fmla="*/ 127 h 192"/>
              <a:gd name="T38" fmla="*/ 115 w 238"/>
              <a:gd name="T39" fmla="*/ 129 h 192"/>
              <a:gd name="T40" fmla="*/ 72 w 238"/>
              <a:gd name="T41" fmla="*/ 175 h 192"/>
              <a:gd name="T42" fmla="*/ 73 w 238"/>
              <a:gd name="T43" fmla="*/ 132 h 192"/>
              <a:gd name="T44" fmla="*/ 71 w 238"/>
              <a:gd name="T45" fmla="*/ 129 h 192"/>
              <a:gd name="T46" fmla="*/ 68 w 238"/>
              <a:gd name="T47" fmla="*/ 127 h 192"/>
              <a:gd name="T48" fmla="*/ 44 w 238"/>
              <a:gd name="T49" fmla="*/ 127 h 192"/>
              <a:gd name="T50" fmla="*/ 10 w 238"/>
              <a:gd name="T51" fmla="*/ 94 h 192"/>
              <a:gd name="T52" fmla="*/ 31 w 238"/>
              <a:gd name="T53" fmla="*/ 64 h 192"/>
              <a:gd name="T54" fmla="*/ 33 w 238"/>
              <a:gd name="T55" fmla="*/ 60 h 192"/>
              <a:gd name="T56" fmla="*/ 87 w 238"/>
              <a:gd name="T57" fmla="*/ 10 h 192"/>
              <a:gd name="T58" fmla="*/ 123 w 238"/>
              <a:gd name="T59" fmla="*/ 25 h 192"/>
              <a:gd name="T60" fmla="*/ 127 w 238"/>
              <a:gd name="T61" fmla="*/ 26 h 192"/>
              <a:gd name="T62" fmla="*/ 138 w 238"/>
              <a:gd name="T63" fmla="*/ 25 h 192"/>
              <a:gd name="T64" fmla="*/ 175 w 238"/>
              <a:gd name="T65" fmla="*/ 58 h 192"/>
              <a:gd name="T66" fmla="*/ 177 w 238"/>
              <a:gd name="T67" fmla="*/ 61 h 192"/>
              <a:gd name="T68" fmla="*/ 181 w 238"/>
              <a:gd name="T69" fmla="*/ 62 h 192"/>
              <a:gd name="T70" fmla="*/ 192 w 238"/>
              <a:gd name="T71" fmla="*/ 60 h 192"/>
              <a:gd name="T72" fmla="*/ 228 w 238"/>
              <a:gd name="T73" fmla="*/ 94 h 192"/>
              <a:gd name="T74" fmla="*/ 192 w 238"/>
              <a:gd name="T75" fmla="*/ 12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38" h="192">
                <a:moveTo>
                  <a:pt x="192" y="51"/>
                </a:moveTo>
                <a:cubicBezTo>
                  <a:pt x="189" y="51"/>
                  <a:pt x="186" y="51"/>
                  <a:pt x="183" y="51"/>
                </a:cubicBezTo>
                <a:cubicBezTo>
                  <a:pt x="178" y="31"/>
                  <a:pt x="160" y="15"/>
                  <a:pt x="138" y="15"/>
                </a:cubicBezTo>
                <a:cubicBezTo>
                  <a:pt x="135" y="15"/>
                  <a:pt x="131" y="16"/>
                  <a:pt x="127" y="16"/>
                </a:cubicBezTo>
                <a:cubicBezTo>
                  <a:pt x="115" y="5"/>
                  <a:pt x="102" y="0"/>
                  <a:pt x="87" y="0"/>
                </a:cubicBezTo>
                <a:cubicBezTo>
                  <a:pt x="55" y="0"/>
                  <a:pt x="29" y="24"/>
                  <a:pt x="24" y="57"/>
                </a:cubicBezTo>
                <a:cubicBezTo>
                  <a:pt x="10" y="65"/>
                  <a:pt x="0" y="80"/>
                  <a:pt x="0" y="94"/>
                </a:cubicBezTo>
                <a:cubicBezTo>
                  <a:pt x="0" y="117"/>
                  <a:pt x="20" y="137"/>
                  <a:pt x="44" y="137"/>
                </a:cubicBezTo>
                <a:cubicBezTo>
                  <a:pt x="63" y="137"/>
                  <a:pt x="63" y="137"/>
                  <a:pt x="63" y="137"/>
                </a:cubicBezTo>
                <a:cubicBezTo>
                  <a:pt x="63" y="187"/>
                  <a:pt x="63" y="187"/>
                  <a:pt x="63" y="187"/>
                </a:cubicBezTo>
                <a:cubicBezTo>
                  <a:pt x="63" y="189"/>
                  <a:pt x="64" y="191"/>
                  <a:pt x="66" y="192"/>
                </a:cubicBezTo>
                <a:cubicBezTo>
                  <a:pt x="66" y="192"/>
                  <a:pt x="67" y="192"/>
                  <a:pt x="68" y="192"/>
                </a:cubicBezTo>
                <a:cubicBezTo>
                  <a:pt x="69" y="192"/>
                  <a:pt x="70" y="191"/>
                  <a:pt x="71" y="190"/>
                </a:cubicBezTo>
                <a:cubicBezTo>
                  <a:pt x="120" y="137"/>
                  <a:pt x="120" y="137"/>
                  <a:pt x="120" y="137"/>
                </a:cubicBezTo>
                <a:cubicBezTo>
                  <a:pt x="192" y="137"/>
                  <a:pt x="192" y="137"/>
                  <a:pt x="192" y="137"/>
                </a:cubicBezTo>
                <a:cubicBezTo>
                  <a:pt x="216" y="137"/>
                  <a:pt x="238" y="117"/>
                  <a:pt x="238" y="94"/>
                </a:cubicBezTo>
                <a:cubicBezTo>
                  <a:pt x="238" y="71"/>
                  <a:pt x="216" y="51"/>
                  <a:pt x="192" y="51"/>
                </a:cubicBezTo>
                <a:close/>
                <a:moveTo>
                  <a:pt x="192" y="127"/>
                </a:moveTo>
                <a:cubicBezTo>
                  <a:pt x="118" y="127"/>
                  <a:pt x="118" y="127"/>
                  <a:pt x="118" y="127"/>
                </a:cubicBezTo>
                <a:cubicBezTo>
                  <a:pt x="117" y="127"/>
                  <a:pt x="115" y="128"/>
                  <a:pt x="115" y="129"/>
                </a:cubicBezTo>
                <a:cubicBezTo>
                  <a:pt x="72" y="175"/>
                  <a:pt x="72" y="175"/>
                  <a:pt x="72" y="175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1"/>
                  <a:pt x="72" y="129"/>
                  <a:pt x="71" y="129"/>
                </a:cubicBezTo>
                <a:cubicBezTo>
                  <a:pt x="70" y="128"/>
                  <a:pt x="69" y="127"/>
                  <a:pt x="68" y="127"/>
                </a:cubicBezTo>
                <a:cubicBezTo>
                  <a:pt x="44" y="127"/>
                  <a:pt x="44" y="127"/>
                  <a:pt x="44" y="127"/>
                </a:cubicBezTo>
                <a:cubicBezTo>
                  <a:pt x="23" y="127"/>
                  <a:pt x="10" y="110"/>
                  <a:pt x="10" y="94"/>
                </a:cubicBezTo>
                <a:cubicBezTo>
                  <a:pt x="10" y="82"/>
                  <a:pt x="18" y="70"/>
                  <a:pt x="31" y="64"/>
                </a:cubicBezTo>
                <a:cubicBezTo>
                  <a:pt x="32" y="63"/>
                  <a:pt x="33" y="62"/>
                  <a:pt x="33" y="60"/>
                </a:cubicBezTo>
                <a:cubicBezTo>
                  <a:pt x="36" y="31"/>
                  <a:pt x="59" y="10"/>
                  <a:pt x="87" y="10"/>
                </a:cubicBezTo>
                <a:cubicBezTo>
                  <a:pt x="100" y="10"/>
                  <a:pt x="112" y="15"/>
                  <a:pt x="123" y="25"/>
                </a:cubicBezTo>
                <a:cubicBezTo>
                  <a:pt x="124" y="26"/>
                  <a:pt x="126" y="27"/>
                  <a:pt x="127" y="26"/>
                </a:cubicBezTo>
                <a:cubicBezTo>
                  <a:pt x="130" y="26"/>
                  <a:pt x="135" y="25"/>
                  <a:pt x="138" y="25"/>
                </a:cubicBezTo>
                <a:cubicBezTo>
                  <a:pt x="157" y="25"/>
                  <a:pt x="172" y="39"/>
                  <a:pt x="175" y="58"/>
                </a:cubicBezTo>
                <a:cubicBezTo>
                  <a:pt x="175" y="59"/>
                  <a:pt x="175" y="60"/>
                  <a:pt x="177" y="61"/>
                </a:cubicBezTo>
                <a:cubicBezTo>
                  <a:pt x="178" y="62"/>
                  <a:pt x="179" y="62"/>
                  <a:pt x="181" y="62"/>
                </a:cubicBezTo>
                <a:cubicBezTo>
                  <a:pt x="184" y="61"/>
                  <a:pt x="188" y="60"/>
                  <a:pt x="192" y="60"/>
                </a:cubicBezTo>
                <a:cubicBezTo>
                  <a:pt x="211" y="60"/>
                  <a:pt x="228" y="76"/>
                  <a:pt x="228" y="94"/>
                </a:cubicBezTo>
                <a:cubicBezTo>
                  <a:pt x="228" y="112"/>
                  <a:pt x="211" y="127"/>
                  <a:pt x="192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287"/>
          <p:cNvSpPr>
            <a:spLocks noEditPoints="1"/>
          </p:cNvSpPr>
          <p:nvPr/>
        </p:nvSpPr>
        <p:spPr bwMode="auto">
          <a:xfrm flipH="1">
            <a:off x="1690687" y="4735875"/>
            <a:ext cx="503238" cy="404813"/>
          </a:xfrm>
          <a:custGeom>
            <a:avLst/>
            <a:gdLst>
              <a:gd name="T0" fmla="*/ 192 w 238"/>
              <a:gd name="T1" fmla="*/ 51 h 192"/>
              <a:gd name="T2" fmla="*/ 183 w 238"/>
              <a:gd name="T3" fmla="*/ 51 h 192"/>
              <a:gd name="T4" fmla="*/ 138 w 238"/>
              <a:gd name="T5" fmla="*/ 15 h 192"/>
              <a:gd name="T6" fmla="*/ 127 w 238"/>
              <a:gd name="T7" fmla="*/ 16 h 192"/>
              <a:gd name="T8" fmla="*/ 87 w 238"/>
              <a:gd name="T9" fmla="*/ 0 h 192"/>
              <a:gd name="T10" fmla="*/ 24 w 238"/>
              <a:gd name="T11" fmla="*/ 57 h 192"/>
              <a:gd name="T12" fmla="*/ 0 w 238"/>
              <a:gd name="T13" fmla="*/ 94 h 192"/>
              <a:gd name="T14" fmla="*/ 44 w 238"/>
              <a:gd name="T15" fmla="*/ 137 h 192"/>
              <a:gd name="T16" fmla="*/ 63 w 238"/>
              <a:gd name="T17" fmla="*/ 137 h 192"/>
              <a:gd name="T18" fmla="*/ 63 w 238"/>
              <a:gd name="T19" fmla="*/ 187 h 192"/>
              <a:gd name="T20" fmla="*/ 66 w 238"/>
              <a:gd name="T21" fmla="*/ 192 h 192"/>
              <a:gd name="T22" fmla="*/ 68 w 238"/>
              <a:gd name="T23" fmla="*/ 192 h 192"/>
              <a:gd name="T24" fmla="*/ 71 w 238"/>
              <a:gd name="T25" fmla="*/ 190 h 192"/>
              <a:gd name="T26" fmla="*/ 120 w 238"/>
              <a:gd name="T27" fmla="*/ 137 h 192"/>
              <a:gd name="T28" fmla="*/ 192 w 238"/>
              <a:gd name="T29" fmla="*/ 137 h 192"/>
              <a:gd name="T30" fmla="*/ 238 w 238"/>
              <a:gd name="T31" fmla="*/ 94 h 192"/>
              <a:gd name="T32" fmla="*/ 192 w 238"/>
              <a:gd name="T33" fmla="*/ 51 h 192"/>
              <a:gd name="T34" fmla="*/ 192 w 238"/>
              <a:gd name="T35" fmla="*/ 127 h 192"/>
              <a:gd name="T36" fmla="*/ 118 w 238"/>
              <a:gd name="T37" fmla="*/ 127 h 192"/>
              <a:gd name="T38" fmla="*/ 115 w 238"/>
              <a:gd name="T39" fmla="*/ 129 h 192"/>
              <a:gd name="T40" fmla="*/ 72 w 238"/>
              <a:gd name="T41" fmla="*/ 175 h 192"/>
              <a:gd name="T42" fmla="*/ 73 w 238"/>
              <a:gd name="T43" fmla="*/ 132 h 192"/>
              <a:gd name="T44" fmla="*/ 71 w 238"/>
              <a:gd name="T45" fmla="*/ 129 h 192"/>
              <a:gd name="T46" fmla="*/ 68 w 238"/>
              <a:gd name="T47" fmla="*/ 127 h 192"/>
              <a:gd name="T48" fmla="*/ 44 w 238"/>
              <a:gd name="T49" fmla="*/ 127 h 192"/>
              <a:gd name="T50" fmla="*/ 10 w 238"/>
              <a:gd name="T51" fmla="*/ 94 h 192"/>
              <a:gd name="T52" fmla="*/ 31 w 238"/>
              <a:gd name="T53" fmla="*/ 64 h 192"/>
              <a:gd name="T54" fmla="*/ 33 w 238"/>
              <a:gd name="T55" fmla="*/ 60 h 192"/>
              <a:gd name="T56" fmla="*/ 87 w 238"/>
              <a:gd name="T57" fmla="*/ 10 h 192"/>
              <a:gd name="T58" fmla="*/ 123 w 238"/>
              <a:gd name="T59" fmla="*/ 25 h 192"/>
              <a:gd name="T60" fmla="*/ 127 w 238"/>
              <a:gd name="T61" fmla="*/ 26 h 192"/>
              <a:gd name="T62" fmla="*/ 138 w 238"/>
              <a:gd name="T63" fmla="*/ 25 h 192"/>
              <a:gd name="T64" fmla="*/ 175 w 238"/>
              <a:gd name="T65" fmla="*/ 58 h 192"/>
              <a:gd name="T66" fmla="*/ 177 w 238"/>
              <a:gd name="T67" fmla="*/ 61 h 192"/>
              <a:gd name="T68" fmla="*/ 181 w 238"/>
              <a:gd name="T69" fmla="*/ 62 h 192"/>
              <a:gd name="T70" fmla="*/ 192 w 238"/>
              <a:gd name="T71" fmla="*/ 60 h 192"/>
              <a:gd name="T72" fmla="*/ 228 w 238"/>
              <a:gd name="T73" fmla="*/ 94 h 192"/>
              <a:gd name="T74" fmla="*/ 192 w 238"/>
              <a:gd name="T75" fmla="*/ 127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38" h="192">
                <a:moveTo>
                  <a:pt x="192" y="51"/>
                </a:moveTo>
                <a:cubicBezTo>
                  <a:pt x="189" y="51"/>
                  <a:pt x="186" y="51"/>
                  <a:pt x="183" y="51"/>
                </a:cubicBezTo>
                <a:cubicBezTo>
                  <a:pt x="178" y="31"/>
                  <a:pt x="160" y="15"/>
                  <a:pt x="138" y="15"/>
                </a:cubicBezTo>
                <a:cubicBezTo>
                  <a:pt x="135" y="15"/>
                  <a:pt x="131" y="16"/>
                  <a:pt x="127" y="16"/>
                </a:cubicBezTo>
                <a:cubicBezTo>
                  <a:pt x="115" y="5"/>
                  <a:pt x="102" y="0"/>
                  <a:pt x="87" y="0"/>
                </a:cubicBezTo>
                <a:cubicBezTo>
                  <a:pt x="55" y="0"/>
                  <a:pt x="29" y="24"/>
                  <a:pt x="24" y="57"/>
                </a:cubicBezTo>
                <a:cubicBezTo>
                  <a:pt x="10" y="65"/>
                  <a:pt x="0" y="80"/>
                  <a:pt x="0" y="94"/>
                </a:cubicBezTo>
                <a:cubicBezTo>
                  <a:pt x="0" y="117"/>
                  <a:pt x="20" y="137"/>
                  <a:pt x="44" y="137"/>
                </a:cubicBezTo>
                <a:cubicBezTo>
                  <a:pt x="63" y="137"/>
                  <a:pt x="63" y="137"/>
                  <a:pt x="63" y="137"/>
                </a:cubicBezTo>
                <a:cubicBezTo>
                  <a:pt x="63" y="187"/>
                  <a:pt x="63" y="187"/>
                  <a:pt x="63" y="187"/>
                </a:cubicBezTo>
                <a:cubicBezTo>
                  <a:pt x="63" y="189"/>
                  <a:pt x="64" y="191"/>
                  <a:pt x="66" y="192"/>
                </a:cubicBezTo>
                <a:cubicBezTo>
                  <a:pt x="66" y="192"/>
                  <a:pt x="67" y="192"/>
                  <a:pt x="68" y="192"/>
                </a:cubicBezTo>
                <a:cubicBezTo>
                  <a:pt x="69" y="192"/>
                  <a:pt x="70" y="191"/>
                  <a:pt x="71" y="190"/>
                </a:cubicBezTo>
                <a:cubicBezTo>
                  <a:pt x="120" y="137"/>
                  <a:pt x="120" y="137"/>
                  <a:pt x="120" y="137"/>
                </a:cubicBezTo>
                <a:cubicBezTo>
                  <a:pt x="192" y="137"/>
                  <a:pt x="192" y="137"/>
                  <a:pt x="192" y="137"/>
                </a:cubicBezTo>
                <a:cubicBezTo>
                  <a:pt x="216" y="137"/>
                  <a:pt x="238" y="117"/>
                  <a:pt x="238" y="94"/>
                </a:cubicBezTo>
                <a:cubicBezTo>
                  <a:pt x="238" y="71"/>
                  <a:pt x="216" y="51"/>
                  <a:pt x="192" y="51"/>
                </a:cubicBezTo>
                <a:close/>
                <a:moveTo>
                  <a:pt x="192" y="127"/>
                </a:moveTo>
                <a:cubicBezTo>
                  <a:pt x="118" y="127"/>
                  <a:pt x="118" y="127"/>
                  <a:pt x="118" y="127"/>
                </a:cubicBezTo>
                <a:cubicBezTo>
                  <a:pt x="117" y="127"/>
                  <a:pt x="115" y="128"/>
                  <a:pt x="115" y="129"/>
                </a:cubicBezTo>
                <a:cubicBezTo>
                  <a:pt x="72" y="175"/>
                  <a:pt x="72" y="175"/>
                  <a:pt x="72" y="175"/>
                </a:cubicBezTo>
                <a:cubicBezTo>
                  <a:pt x="73" y="132"/>
                  <a:pt x="73" y="132"/>
                  <a:pt x="73" y="132"/>
                </a:cubicBezTo>
                <a:cubicBezTo>
                  <a:pt x="73" y="131"/>
                  <a:pt x="72" y="129"/>
                  <a:pt x="71" y="129"/>
                </a:cubicBezTo>
                <a:cubicBezTo>
                  <a:pt x="70" y="128"/>
                  <a:pt x="69" y="127"/>
                  <a:pt x="68" y="127"/>
                </a:cubicBezTo>
                <a:cubicBezTo>
                  <a:pt x="44" y="127"/>
                  <a:pt x="44" y="127"/>
                  <a:pt x="44" y="127"/>
                </a:cubicBezTo>
                <a:cubicBezTo>
                  <a:pt x="23" y="127"/>
                  <a:pt x="10" y="110"/>
                  <a:pt x="10" y="94"/>
                </a:cubicBezTo>
                <a:cubicBezTo>
                  <a:pt x="10" y="82"/>
                  <a:pt x="18" y="70"/>
                  <a:pt x="31" y="64"/>
                </a:cubicBezTo>
                <a:cubicBezTo>
                  <a:pt x="32" y="63"/>
                  <a:pt x="33" y="62"/>
                  <a:pt x="33" y="60"/>
                </a:cubicBezTo>
                <a:cubicBezTo>
                  <a:pt x="36" y="31"/>
                  <a:pt x="59" y="10"/>
                  <a:pt x="87" y="10"/>
                </a:cubicBezTo>
                <a:cubicBezTo>
                  <a:pt x="100" y="10"/>
                  <a:pt x="112" y="15"/>
                  <a:pt x="123" y="25"/>
                </a:cubicBezTo>
                <a:cubicBezTo>
                  <a:pt x="124" y="26"/>
                  <a:pt x="126" y="27"/>
                  <a:pt x="127" y="26"/>
                </a:cubicBezTo>
                <a:cubicBezTo>
                  <a:pt x="130" y="26"/>
                  <a:pt x="135" y="25"/>
                  <a:pt x="138" y="25"/>
                </a:cubicBezTo>
                <a:cubicBezTo>
                  <a:pt x="157" y="25"/>
                  <a:pt x="172" y="39"/>
                  <a:pt x="175" y="58"/>
                </a:cubicBezTo>
                <a:cubicBezTo>
                  <a:pt x="175" y="59"/>
                  <a:pt x="175" y="60"/>
                  <a:pt x="177" y="61"/>
                </a:cubicBezTo>
                <a:cubicBezTo>
                  <a:pt x="178" y="62"/>
                  <a:pt x="179" y="62"/>
                  <a:pt x="181" y="62"/>
                </a:cubicBezTo>
                <a:cubicBezTo>
                  <a:pt x="184" y="61"/>
                  <a:pt x="188" y="60"/>
                  <a:pt x="192" y="60"/>
                </a:cubicBezTo>
                <a:cubicBezTo>
                  <a:pt x="211" y="60"/>
                  <a:pt x="228" y="76"/>
                  <a:pt x="228" y="94"/>
                </a:cubicBezTo>
                <a:cubicBezTo>
                  <a:pt x="228" y="112"/>
                  <a:pt x="211" y="127"/>
                  <a:pt x="192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27021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Rectangle 1"/>
          <p:cNvSpPr/>
          <p:nvPr/>
        </p:nvSpPr>
        <p:spPr>
          <a:xfrm>
            <a:off x="2409017" y="2159758"/>
            <a:ext cx="482815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</a:rPr>
              <a:t>advokát se zaměřením na právo EU – spotřebitele</a:t>
            </a:r>
          </a:p>
          <a:p>
            <a:endParaRPr lang="cs-CZ" sz="1200" dirty="0">
              <a:solidFill>
                <a:schemeClr val="bg1"/>
              </a:solidFill>
            </a:endParaRPr>
          </a:p>
          <a:p>
            <a:r>
              <a:rPr lang="cs-CZ" sz="1200" dirty="0">
                <a:solidFill>
                  <a:schemeClr val="accent1"/>
                </a:solidFill>
              </a:rPr>
              <a:t>Od 2016: </a:t>
            </a:r>
            <a:r>
              <a:rPr lang="cs-CZ" sz="1200" dirty="0">
                <a:solidFill>
                  <a:schemeClr val="bg1"/>
                </a:solidFill>
              </a:rPr>
              <a:t>Spotřebitelské fórum</a:t>
            </a:r>
          </a:p>
          <a:p>
            <a:endParaRPr lang="cs-CZ" sz="1200" dirty="0">
              <a:solidFill>
                <a:schemeClr val="bg1"/>
              </a:solidFill>
            </a:endParaRPr>
          </a:p>
          <a:p>
            <a:r>
              <a:rPr lang="cs-CZ" sz="1200" dirty="0">
                <a:solidFill>
                  <a:schemeClr val="accent1"/>
                </a:solidFill>
              </a:rPr>
              <a:t>Komunikace:  </a:t>
            </a:r>
          </a:p>
          <a:p>
            <a:r>
              <a:rPr lang="cs-CZ" sz="1200" dirty="0">
                <a:solidFill>
                  <a:schemeClr val="bg1"/>
                </a:solidFill>
              </a:rPr>
              <a:t>spotřebitelské organizace </a:t>
            </a:r>
            <a:r>
              <a:rPr lang="cs-CZ" sz="1200" dirty="0">
                <a:solidFill>
                  <a:schemeClr val="bg1"/>
                </a:solidFill>
                <a:sym typeface="Wingdings" panose="05000000000000000000" pitchFamily="2" charset="2"/>
              </a:rPr>
              <a:t></a:t>
            </a:r>
            <a:r>
              <a:rPr lang="cs-CZ" sz="1200" dirty="0">
                <a:solidFill>
                  <a:schemeClr val="bg1"/>
                </a:solidFill>
              </a:rPr>
              <a:t> komerce </a:t>
            </a:r>
            <a:r>
              <a:rPr lang="cs-CZ" sz="1200" dirty="0">
                <a:solidFill>
                  <a:schemeClr val="bg1"/>
                </a:solidFill>
                <a:sym typeface="Wingdings" panose="05000000000000000000" pitchFamily="2" charset="2"/>
              </a:rPr>
              <a:t></a:t>
            </a:r>
            <a:r>
              <a:rPr lang="cs-CZ" sz="1200" dirty="0">
                <a:solidFill>
                  <a:schemeClr val="bg1"/>
                </a:solidFill>
              </a:rPr>
              <a:t> veřejná správa</a:t>
            </a:r>
          </a:p>
          <a:p>
            <a:endParaRPr lang="cs-CZ" sz="1200" dirty="0">
              <a:solidFill>
                <a:schemeClr val="bg1"/>
              </a:solidFill>
            </a:endParaRPr>
          </a:p>
          <a:p>
            <a:r>
              <a:rPr lang="cs-CZ" sz="1200" dirty="0">
                <a:solidFill>
                  <a:schemeClr val="accent1"/>
                </a:solidFill>
              </a:rPr>
              <a:t>Témata:</a:t>
            </a:r>
          </a:p>
          <a:p>
            <a:r>
              <a:rPr lang="cs-CZ" sz="1200" dirty="0">
                <a:solidFill>
                  <a:schemeClr val="bg1"/>
                </a:solidFill>
              </a:rPr>
              <a:t>sdílená ekonomika</a:t>
            </a:r>
          </a:p>
          <a:p>
            <a:r>
              <a:rPr lang="cs-CZ" sz="1200" dirty="0">
                <a:solidFill>
                  <a:schemeClr val="bg1"/>
                </a:solidFill>
              </a:rPr>
              <a:t>hromadné žaloby </a:t>
            </a:r>
          </a:p>
          <a:p>
            <a:r>
              <a:rPr lang="cs-CZ" sz="1200" dirty="0">
                <a:solidFill>
                  <a:schemeClr val="bg1"/>
                </a:solidFill>
              </a:rPr>
              <a:t>spotřebitel a nové technologie </a:t>
            </a:r>
          </a:p>
          <a:p>
            <a:r>
              <a:rPr lang="cs-CZ" sz="1200" dirty="0">
                <a:solidFill>
                  <a:schemeClr val="bg1"/>
                </a:solidFill>
              </a:rPr>
              <a:t>spotřebitel ve světě financí udržitelnost</a:t>
            </a:r>
          </a:p>
          <a:p>
            <a:endParaRPr lang="cs-CZ" sz="12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09017" y="1790426"/>
            <a:ext cx="17459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800" i="1" dirty="0">
                <a:solidFill>
                  <a:schemeClr val="accent1"/>
                </a:solidFill>
              </a:rPr>
              <a:t>Kryštof Kruliš</a:t>
            </a:r>
          </a:p>
        </p:txBody>
      </p:sp>
      <p:pic>
        <p:nvPicPr>
          <p:cNvPr id="11" name="Obrázek 2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7" t="9193" r="1522" b="19013"/>
          <a:stretch/>
        </p:blipFill>
        <p:spPr bwMode="auto">
          <a:xfrm>
            <a:off x="633636" y="1809613"/>
            <a:ext cx="1440000" cy="14400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8" name="Obdélník: se zakulacenými rohy 10">
            <a:extLst>
              <a:ext uri="{FF2B5EF4-FFF2-40B4-BE49-F238E27FC236}">
                <a16:creationId xmlns:a16="http://schemas.microsoft.com/office/drawing/2014/main" id="{5765EA53-1050-4012-AEA8-AF30377E8690}"/>
              </a:ext>
            </a:extLst>
          </p:cNvPr>
          <p:cNvSpPr/>
          <p:nvPr/>
        </p:nvSpPr>
        <p:spPr bwMode="gray">
          <a:xfrm>
            <a:off x="2409017" y="4666669"/>
            <a:ext cx="1985135" cy="651894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>
              <a:solidFill>
                <a:schemeClr val="bg1"/>
              </a:solidFill>
            </a:endParaRPr>
          </a:p>
        </p:txBody>
      </p:sp>
      <p:pic>
        <p:nvPicPr>
          <p:cNvPr id="10" name="Obrázek 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68" y="4539091"/>
            <a:ext cx="1463675" cy="853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39759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ryštof Kruliš - intr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9900" y="1665818"/>
            <a:ext cx="7623175" cy="4633383"/>
          </a:xfrm>
        </p:spPr>
        <p:txBody>
          <a:bodyPr/>
          <a:lstStyle/>
          <a:p>
            <a:r>
              <a:rPr lang="cs-CZ" sz="2000" dirty="0"/>
              <a:t>Bezpečnost dat spotřebitelů se do budoucna může stát </a:t>
            </a:r>
            <a:r>
              <a:rPr lang="cs-CZ" sz="2000" u="sng" dirty="0"/>
              <a:t>výrazným faktorem</a:t>
            </a:r>
            <a:r>
              <a:rPr lang="cs-CZ" sz="2000" dirty="0"/>
              <a:t> pro rozlišení kvality obchodníků a nabízených služeb. </a:t>
            </a:r>
          </a:p>
          <a:p>
            <a:endParaRPr lang="cs-CZ" sz="2000" dirty="0"/>
          </a:p>
          <a:p>
            <a:r>
              <a:rPr lang="cs-CZ" sz="2000" dirty="0"/>
              <a:t>Zatím však běžný spotřebitel </a:t>
            </a:r>
            <a:r>
              <a:rPr lang="cs-CZ" sz="2000" u="sng" dirty="0"/>
              <a:t>nemá dostatek informací </a:t>
            </a:r>
            <a:r>
              <a:rPr lang="cs-CZ" sz="2000" dirty="0"/>
              <a:t>ani nástrojů, jak přístupy jednotlivých podnikatelů rozlišit.</a:t>
            </a:r>
          </a:p>
          <a:p>
            <a:endParaRPr lang="cs-CZ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624"/>
          <a:stretch/>
        </p:blipFill>
        <p:spPr>
          <a:xfrm>
            <a:off x="8257198" y="0"/>
            <a:ext cx="39348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9496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1. TÉM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Bezpečné nakupování</a:t>
            </a:r>
          </a:p>
          <a:p>
            <a:endParaRPr lang="cs-CZ" dirty="0"/>
          </a:p>
          <a:p>
            <a:r>
              <a:rPr lang="cs-CZ" dirty="0"/>
              <a:t>Kryštof Kruliš a Vladimír Dědek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7190318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9900" y="1665818"/>
            <a:ext cx="7623175" cy="4633383"/>
          </a:xfrm>
        </p:spPr>
        <p:txBody>
          <a:bodyPr/>
          <a:lstStyle/>
          <a:p>
            <a:pPr>
              <a:lnSpc>
                <a:spcPts val="1800"/>
              </a:lnSpc>
              <a:spcAft>
                <a:spcPts val="1300"/>
              </a:spcAft>
            </a:pPr>
            <a:r>
              <a:rPr lang="cs-CZ" sz="1600" i="1" dirty="0">
                <a:solidFill>
                  <a:schemeClr val="accent1"/>
                </a:solidFill>
                <a:ea typeface="Times New Roman" panose="02020603050405020304" pitchFamily="18" charset="0"/>
              </a:rPr>
              <a:t>Studie Spotřebitelského fóra „</a:t>
            </a:r>
            <a:r>
              <a:rPr lang="cs-CZ" sz="1600" b="1" i="1" dirty="0">
                <a:solidFill>
                  <a:schemeClr val="accent1"/>
                </a:solidFill>
                <a:ea typeface="Times New Roman" panose="02020603050405020304" pitchFamily="18" charset="0"/>
              </a:rPr>
              <a:t>Spotřebitel na internetu: Pohled spotřebitelských organizací v ČR“</a:t>
            </a:r>
            <a:r>
              <a:rPr lang="cs-CZ" sz="1600" i="1" dirty="0">
                <a:solidFill>
                  <a:schemeClr val="accent1"/>
                </a:solidFill>
                <a:ea typeface="Times New Roman" panose="02020603050405020304" pitchFamily="18" charset="0"/>
              </a:rPr>
              <a:t>:</a:t>
            </a:r>
            <a:br>
              <a:rPr lang="cs-CZ" sz="1600" i="1" dirty="0">
                <a:solidFill>
                  <a:schemeClr val="accent1"/>
                </a:solidFill>
                <a:ea typeface="Times New Roman" panose="02020603050405020304" pitchFamily="18" charset="0"/>
              </a:rPr>
            </a:br>
            <a:endParaRPr lang="cs-CZ" sz="1600" dirty="0">
              <a:ea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spotřebitelé za zdaleka nejvíce obtěžující </a:t>
            </a:r>
            <a:r>
              <a:rPr lang="cs-CZ" sz="1600" u="sng" dirty="0">
                <a:ea typeface="Calibri" panose="020F0502020204030204" pitchFamily="34" charset="0"/>
                <a:cs typeface="Times New Roman" panose="02020603050405020304" pitchFamily="18" charset="0"/>
              </a:rPr>
              <a:t>považují zneužití osobních údajů k přímému kontaktování</a:t>
            </a: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 s nevyžádanými marketingovými nabídkami telefonem či mailem. </a:t>
            </a:r>
            <a:endParaRPr lang="cs-CZ" sz="1600" dirty="0"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cs-CZ" sz="1600" i="1" dirty="0">
              <a:solidFill>
                <a:schemeClr val="accent1"/>
              </a:solidFill>
            </a:endParaRPr>
          </a:p>
          <a:p>
            <a:pPr>
              <a:spcAft>
                <a:spcPts val="0"/>
              </a:spcAft>
            </a:pPr>
            <a:r>
              <a:rPr lang="cs-CZ" sz="1600" i="1" dirty="0">
                <a:solidFill>
                  <a:schemeClr val="accent1"/>
                </a:solidFill>
              </a:rPr>
              <a:t>Bezpečnost dat spotřebitelů – role spotřebitelských organizací:</a:t>
            </a:r>
          </a:p>
          <a:p>
            <a:pPr>
              <a:spcAft>
                <a:spcPts val="0"/>
              </a:spcAft>
            </a:pPr>
            <a:endParaRPr lang="cs-CZ" sz="1600" i="1" dirty="0">
              <a:solidFill>
                <a:schemeClr val="accent1"/>
              </a:solidFill>
            </a:endParaRPr>
          </a:p>
          <a:p>
            <a:pPr marL="171450" indent="-171450">
              <a:buFontTx/>
              <a:buChar char="-"/>
            </a:pP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informační kampaně a edukace spotřebitelů</a:t>
            </a:r>
          </a:p>
          <a:p>
            <a:pPr marL="171450" indent="-171450">
              <a:buFontTx/>
              <a:buChar char="-"/>
            </a:pP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hodnocení bezpečnosti použitých přístupů a upozorňování na prohřešky</a:t>
            </a:r>
          </a:p>
          <a:p>
            <a:pPr marL="171450" indent="-171450">
              <a:buFontTx/>
              <a:buChar char="-"/>
            </a:pP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nástroje pro ověřování e-</a:t>
            </a:r>
            <a:r>
              <a:rPr lang="cs-CZ" sz="1600" dirty="0" err="1">
                <a:ea typeface="Calibri" panose="020F0502020204030204" pitchFamily="34" charset="0"/>
                <a:cs typeface="Times New Roman" panose="02020603050405020304" pitchFamily="18" charset="0"/>
              </a:rPr>
              <a:t>shopů</a:t>
            </a:r>
            <a:r>
              <a:rPr lang="cs-CZ" sz="1600" dirty="0">
                <a:ea typeface="Calibri" panose="020F0502020204030204" pitchFamily="34" charset="0"/>
                <a:cs typeface="Times New Roman" panose="02020603050405020304" pitchFamily="18" charset="0"/>
              </a:rPr>
              <a:t> mohu v budoucnu obsahovat i informaci o zabezpečení dat spotřebitelů</a:t>
            </a:r>
          </a:p>
          <a:p>
            <a:endParaRPr lang="cs-CZ" dirty="0"/>
          </a:p>
          <a:p>
            <a:r>
              <a:rPr lang="cs-CZ" sz="900" dirty="0"/>
              <a:t>Zdroj: Průzkum mezi spotřebitelskými organizacemi v ČR, https://spotrebitelskeforum.cz/</a:t>
            </a:r>
            <a:r>
              <a:rPr lang="cs-CZ" sz="900" dirty="0" err="1"/>
              <a:t>wp-content</a:t>
            </a:r>
            <a:r>
              <a:rPr lang="cs-CZ" sz="900" dirty="0"/>
              <a:t>/</a:t>
            </a:r>
            <a:r>
              <a:rPr lang="cs-CZ" sz="900" dirty="0" err="1"/>
              <a:t>uploads</a:t>
            </a:r>
            <a:r>
              <a:rPr lang="cs-CZ" sz="900" dirty="0"/>
              <a:t>/2019/01/STUDIE2-1.pdf, leden 2019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624"/>
          <a:stretch/>
        </p:blipFill>
        <p:spPr>
          <a:xfrm>
            <a:off x="8257198" y="0"/>
            <a:ext cx="3934802" cy="68580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87017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624"/>
          <a:stretch/>
        </p:blipFill>
        <p:spPr>
          <a:xfrm flipH="1">
            <a:off x="0" y="0"/>
            <a:ext cx="3934802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97338" y="402587"/>
            <a:ext cx="7624762" cy="334102"/>
          </a:xfrm>
        </p:spPr>
        <p:txBody>
          <a:bodyPr/>
          <a:lstStyle/>
          <a:p>
            <a:r>
              <a:rPr lang="cs-CZ" dirty="0">
                <a:solidFill>
                  <a:schemeClr val="accent1"/>
                </a:solidFill>
              </a:rPr>
              <a:t>Děkujeme za pozornost</a:t>
            </a:r>
          </a:p>
        </p:txBody>
      </p:sp>
      <p:sp>
        <p:nvSpPr>
          <p:cNvPr id="6" name="Rectangle 5"/>
          <p:cNvSpPr/>
          <p:nvPr/>
        </p:nvSpPr>
        <p:spPr>
          <a:xfrm>
            <a:off x="3623094" y="1173223"/>
            <a:ext cx="518391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Kryštof Kruliš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     Vladimír Děd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	Michal Hanáč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	Pavel Fl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     Marek Jílek</a:t>
            </a:r>
          </a:p>
          <a:p>
            <a:pPr>
              <a:lnSpc>
                <a:spcPct val="200000"/>
              </a:lnSpc>
            </a:pPr>
            <a:r>
              <a:rPr lang="cs-CZ" i="1" dirty="0">
                <a:solidFill>
                  <a:schemeClr val="accent1"/>
                </a:solidFill>
              </a:rPr>
              <a:t>Igor Gricinko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850419" y="1406047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8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400940" y="2096667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19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895018" y="2833356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24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895018" y="3609975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29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400940" y="4265447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34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850418" y="5015945"/>
            <a:ext cx="523875" cy="466725"/>
            <a:chOff x="7754938" y="1800225"/>
            <a:chExt cx="523875" cy="466725"/>
          </a:xfrm>
          <a:solidFill>
            <a:schemeClr val="accent1"/>
          </a:solidFill>
        </p:grpSpPr>
        <p:sp>
          <p:nvSpPr>
            <p:cNvPr id="39" name="Freeform 346"/>
            <p:cNvSpPr>
              <a:spLocks noEditPoints="1"/>
            </p:cNvSpPr>
            <p:nvPr/>
          </p:nvSpPr>
          <p:spPr bwMode="auto">
            <a:xfrm>
              <a:off x="7820025" y="1984375"/>
              <a:ext cx="206375" cy="204788"/>
            </a:xfrm>
            <a:custGeom>
              <a:avLst/>
              <a:gdLst>
                <a:gd name="T0" fmla="*/ 91 w 97"/>
                <a:gd name="T1" fmla="*/ 70 h 96"/>
                <a:gd name="T2" fmla="*/ 64 w 97"/>
                <a:gd name="T3" fmla="*/ 56 h 96"/>
                <a:gd name="T4" fmla="*/ 64 w 97"/>
                <a:gd name="T5" fmla="*/ 55 h 96"/>
                <a:gd name="T6" fmla="*/ 70 w 97"/>
                <a:gd name="T7" fmla="*/ 45 h 96"/>
                <a:gd name="T8" fmla="*/ 74 w 97"/>
                <a:gd name="T9" fmla="*/ 36 h 96"/>
                <a:gd name="T10" fmla="*/ 72 w 97"/>
                <a:gd name="T11" fmla="*/ 30 h 96"/>
                <a:gd name="T12" fmla="*/ 72 w 97"/>
                <a:gd name="T13" fmla="*/ 22 h 96"/>
                <a:gd name="T14" fmla="*/ 48 w 97"/>
                <a:gd name="T15" fmla="*/ 0 h 96"/>
                <a:gd name="T16" fmla="*/ 25 w 97"/>
                <a:gd name="T17" fmla="*/ 22 h 96"/>
                <a:gd name="T18" fmla="*/ 25 w 97"/>
                <a:gd name="T19" fmla="*/ 30 h 96"/>
                <a:gd name="T20" fmla="*/ 23 w 97"/>
                <a:gd name="T21" fmla="*/ 36 h 96"/>
                <a:gd name="T22" fmla="*/ 27 w 97"/>
                <a:gd name="T23" fmla="*/ 45 h 96"/>
                <a:gd name="T24" fmla="*/ 33 w 97"/>
                <a:gd name="T25" fmla="*/ 55 h 96"/>
                <a:gd name="T26" fmla="*/ 33 w 97"/>
                <a:gd name="T27" fmla="*/ 56 h 96"/>
                <a:gd name="T28" fmla="*/ 6 w 97"/>
                <a:gd name="T29" fmla="*/ 70 h 96"/>
                <a:gd name="T30" fmla="*/ 0 w 97"/>
                <a:gd name="T31" fmla="*/ 77 h 96"/>
                <a:gd name="T32" fmla="*/ 0 w 97"/>
                <a:gd name="T33" fmla="*/ 88 h 96"/>
                <a:gd name="T34" fmla="*/ 8 w 97"/>
                <a:gd name="T35" fmla="*/ 96 h 96"/>
                <a:gd name="T36" fmla="*/ 89 w 97"/>
                <a:gd name="T37" fmla="*/ 96 h 96"/>
                <a:gd name="T38" fmla="*/ 97 w 97"/>
                <a:gd name="T39" fmla="*/ 88 h 96"/>
                <a:gd name="T40" fmla="*/ 97 w 97"/>
                <a:gd name="T41" fmla="*/ 77 h 96"/>
                <a:gd name="T42" fmla="*/ 91 w 97"/>
                <a:gd name="T43" fmla="*/ 70 h 96"/>
                <a:gd name="T44" fmla="*/ 87 w 97"/>
                <a:gd name="T45" fmla="*/ 86 h 96"/>
                <a:gd name="T46" fmla="*/ 10 w 97"/>
                <a:gd name="T47" fmla="*/ 86 h 96"/>
                <a:gd name="T48" fmla="*/ 10 w 97"/>
                <a:gd name="T49" fmla="*/ 78 h 96"/>
                <a:gd name="T50" fmla="*/ 43 w 97"/>
                <a:gd name="T51" fmla="*/ 59 h 96"/>
                <a:gd name="T52" fmla="*/ 43 w 97"/>
                <a:gd name="T53" fmla="*/ 58 h 96"/>
                <a:gd name="T54" fmla="*/ 43 w 97"/>
                <a:gd name="T55" fmla="*/ 54 h 96"/>
                <a:gd name="T56" fmla="*/ 41 w 97"/>
                <a:gd name="T57" fmla="*/ 50 h 96"/>
                <a:gd name="T58" fmla="*/ 36 w 97"/>
                <a:gd name="T59" fmla="*/ 40 h 96"/>
                <a:gd name="T60" fmla="*/ 34 w 97"/>
                <a:gd name="T61" fmla="*/ 38 h 96"/>
                <a:gd name="T62" fmla="*/ 33 w 97"/>
                <a:gd name="T63" fmla="*/ 36 h 96"/>
                <a:gd name="T64" fmla="*/ 34 w 97"/>
                <a:gd name="T65" fmla="*/ 35 h 96"/>
                <a:gd name="T66" fmla="*/ 35 w 97"/>
                <a:gd name="T67" fmla="*/ 31 h 96"/>
                <a:gd name="T68" fmla="*/ 35 w 97"/>
                <a:gd name="T69" fmla="*/ 22 h 96"/>
                <a:gd name="T70" fmla="*/ 48 w 97"/>
                <a:gd name="T71" fmla="*/ 10 h 96"/>
                <a:gd name="T72" fmla="*/ 62 w 97"/>
                <a:gd name="T73" fmla="*/ 22 h 96"/>
                <a:gd name="T74" fmla="*/ 62 w 97"/>
                <a:gd name="T75" fmla="*/ 31 h 96"/>
                <a:gd name="T76" fmla="*/ 63 w 97"/>
                <a:gd name="T77" fmla="*/ 35 h 96"/>
                <a:gd name="T78" fmla="*/ 64 w 97"/>
                <a:gd name="T79" fmla="*/ 36 h 96"/>
                <a:gd name="T80" fmla="*/ 63 w 97"/>
                <a:gd name="T81" fmla="*/ 38 h 96"/>
                <a:gd name="T82" fmla="*/ 61 w 97"/>
                <a:gd name="T83" fmla="*/ 40 h 96"/>
                <a:gd name="T84" fmla="*/ 56 w 97"/>
                <a:gd name="T85" fmla="*/ 50 h 96"/>
                <a:gd name="T86" fmla="*/ 54 w 97"/>
                <a:gd name="T87" fmla="*/ 54 h 96"/>
                <a:gd name="T88" fmla="*/ 54 w 97"/>
                <a:gd name="T89" fmla="*/ 58 h 96"/>
                <a:gd name="T90" fmla="*/ 54 w 97"/>
                <a:gd name="T91" fmla="*/ 59 h 96"/>
                <a:gd name="T92" fmla="*/ 87 w 97"/>
                <a:gd name="T93" fmla="*/ 78 h 96"/>
                <a:gd name="T94" fmla="*/ 87 w 97"/>
                <a:gd name="T9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7" h="96">
                  <a:moveTo>
                    <a:pt x="91" y="70"/>
                  </a:moveTo>
                  <a:cubicBezTo>
                    <a:pt x="71" y="62"/>
                    <a:pt x="66" y="58"/>
                    <a:pt x="64" y="56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7" y="52"/>
                    <a:pt x="69" y="49"/>
                    <a:pt x="70" y="45"/>
                  </a:cubicBezTo>
                  <a:cubicBezTo>
                    <a:pt x="72" y="42"/>
                    <a:pt x="74" y="39"/>
                    <a:pt x="74" y="36"/>
                  </a:cubicBezTo>
                  <a:cubicBezTo>
                    <a:pt x="74" y="34"/>
                    <a:pt x="73" y="32"/>
                    <a:pt x="72" y="30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8"/>
                    <a:pt x="63" y="0"/>
                    <a:pt x="48" y="0"/>
                  </a:cubicBezTo>
                  <a:cubicBezTo>
                    <a:pt x="34" y="0"/>
                    <a:pt x="25" y="8"/>
                    <a:pt x="25" y="22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2"/>
                    <a:pt x="23" y="34"/>
                    <a:pt x="23" y="36"/>
                  </a:cubicBezTo>
                  <a:cubicBezTo>
                    <a:pt x="23" y="39"/>
                    <a:pt x="25" y="42"/>
                    <a:pt x="27" y="45"/>
                  </a:cubicBezTo>
                  <a:cubicBezTo>
                    <a:pt x="28" y="49"/>
                    <a:pt x="30" y="52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1" y="58"/>
                    <a:pt x="26" y="62"/>
                    <a:pt x="6" y="70"/>
                  </a:cubicBezTo>
                  <a:cubicBezTo>
                    <a:pt x="2" y="71"/>
                    <a:pt x="0" y="74"/>
                    <a:pt x="0" y="7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2"/>
                    <a:pt x="4" y="96"/>
                    <a:pt x="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3" y="96"/>
                    <a:pt x="97" y="92"/>
                    <a:pt x="97" y="8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4"/>
                    <a:pt x="95" y="71"/>
                    <a:pt x="91" y="70"/>
                  </a:cubicBezTo>
                  <a:close/>
                  <a:moveTo>
                    <a:pt x="87" y="86"/>
                  </a:moveTo>
                  <a:cubicBezTo>
                    <a:pt x="10" y="86"/>
                    <a:pt x="10" y="86"/>
                    <a:pt x="10" y="86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38" y="67"/>
                    <a:pt x="42" y="63"/>
                    <a:pt x="43" y="59"/>
                  </a:cubicBezTo>
                  <a:cubicBezTo>
                    <a:pt x="43" y="59"/>
                    <a:pt x="43" y="58"/>
                    <a:pt x="43" y="5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39" y="48"/>
                    <a:pt x="37" y="44"/>
                    <a:pt x="36" y="40"/>
                  </a:cubicBezTo>
                  <a:cubicBezTo>
                    <a:pt x="36" y="39"/>
                    <a:pt x="35" y="38"/>
                    <a:pt x="34" y="38"/>
                  </a:cubicBezTo>
                  <a:cubicBezTo>
                    <a:pt x="34" y="37"/>
                    <a:pt x="33" y="37"/>
                    <a:pt x="33" y="36"/>
                  </a:cubicBezTo>
                  <a:cubicBezTo>
                    <a:pt x="33" y="35"/>
                    <a:pt x="34" y="35"/>
                    <a:pt x="34" y="35"/>
                  </a:cubicBezTo>
                  <a:cubicBezTo>
                    <a:pt x="35" y="34"/>
                    <a:pt x="35" y="33"/>
                    <a:pt x="35" y="3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4"/>
                    <a:pt x="39" y="10"/>
                    <a:pt x="48" y="10"/>
                  </a:cubicBezTo>
                  <a:cubicBezTo>
                    <a:pt x="58" y="10"/>
                    <a:pt x="62" y="14"/>
                    <a:pt x="62" y="2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3"/>
                    <a:pt x="62" y="34"/>
                    <a:pt x="63" y="35"/>
                  </a:cubicBezTo>
                  <a:cubicBezTo>
                    <a:pt x="63" y="35"/>
                    <a:pt x="64" y="35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2" y="38"/>
                    <a:pt x="61" y="39"/>
                    <a:pt x="61" y="40"/>
                  </a:cubicBezTo>
                  <a:cubicBezTo>
                    <a:pt x="60" y="44"/>
                    <a:pt x="58" y="48"/>
                    <a:pt x="56" y="50"/>
                  </a:cubicBezTo>
                  <a:cubicBezTo>
                    <a:pt x="55" y="51"/>
                    <a:pt x="54" y="52"/>
                    <a:pt x="54" y="54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59"/>
                  </a:cubicBezTo>
                  <a:cubicBezTo>
                    <a:pt x="55" y="63"/>
                    <a:pt x="59" y="67"/>
                    <a:pt x="87" y="78"/>
                  </a:cubicBezTo>
                  <a:lnTo>
                    <a:pt x="87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47"/>
            <p:cNvSpPr>
              <a:spLocks noEditPoints="1"/>
            </p:cNvSpPr>
            <p:nvPr/>
          </p:nvSpPr>
          <p:spPr bwMode="auto">
            <a:xfrm>
              <a:off x="7754938" y="1800225"/>
              <a:ext cx="523875" cy="466725"/>
            </a:xfrm>
            <a:custGeom>
              <a:avLst/>
              <a:gdLst>
                <a:gd name="T0" fmla="*/ 240 w 245"/>
                <a:gd name="T1" fmla="*/ 40 h 218"/>
                <a:gd name="T2" fmla="*/ 148 w 245"/>
                <a:gd name="T3" fmla="*/ 40 h 218"/>
                <a:gd name="T4" fmla="*/ 151 w 245"/>
                <a:gd name="T5" fmla="*/ 16 h 218"/>
                <a:gd name="T6" fmla="*/ 148 w 245"/>
                <a:gd name="T7" fmla="*/ 5 h 218"/>
                <a:gd name="T8" fmla="*/ 137 w 245"/>
                <a:gd name="T9" fmla="*/ 0 h 218"/>
                <a:gd name="T10" fmla="*/ 111 w 245"/>
                <a:gd name="T11" fmla="*/ 0 h 218"/>
                <a:gd name="T12" fmla="*/ 101 w 245"/>
                <a:gd name="T13" fmla="*/ 5 h 218"/>
                <a:gd name="T14" fmla="*/ 98 w 245"/>
                <a:gd name="T15" fmla="*/ 16 h 218"/>
                <a:gd name="T16" fmla="*/ 100 w 245"/>
                <a:gd name="T17" fmla="*/ 40 h 218"/>
                <a:gd name="T18" fmla="*/ 5 w 245"/>
                <a:gd name="T19" fmla="*/ 40 h 218"/>
                <a:gd name="T20" fmla="*/ 0 w 245"/>
                <a:gd name="T21" fmla="*/ 44 h 218"/>
                <a:gd name="T22" fmla="*/ 0 w 245"/>
                <a:gd name="T23" fmla="*/ 213 h 218"/>
                <a:gd name="T24" fmla="*/ 5 w 245"/>
                <a:gd name="T25" fmla="*/ 218 h 218"/>
                <a:gd name="T26" fmla="*/ 240 w 245"/>
                <a:gd name="T27" fmla="*/ 218 h 218"/>
                <a:gd name="T28" fmla="*/ 245 w 245"/>
                <a:gd name="T29" fmla="*/ 213 h 218"/>
                <a:gd name="T30" fmla="*/ 245 w 245"/>
                <a:gd name="T31" fmla="*/ 44 h 218"/>
                <a:gd name="T32" fmla="*/ 240 w 245"/>
                <a:gd name="T33" fmla="*/ 40 h 218"/>
                <a:gd name="T34" fmla="*/ 108 w 245"/>
                <a:gd name="T35" fmla="*/ 12 h 218"/>
                <a:gd name="T36" fmla="*/ 111 w 245"/>
                <a:gd name="T37" fmla="*/ 10 h 218"/>
                <a:gd name="T38" fmla="*/ 137 w 245"/>
                <a:gd name="T39" fmla="*/ 10 h 218"/>
                <a:gd name="T40" fmla="*/ 140 w 245"/>
                <a:gd name="T41" fmla="*/ 12 h 218"/>
                <a:gd name="T42" fmla="*/ 141 w 245"/>
                <a:gd name="T43" fmla="*/ 15 h 218"/>
                <a:gd name="T44" fmla="*/ 136 w 245"/>
                <a:gd name="T45" fmla="*/ 59 h 218"/>
                <a:gd name="T46" fmla="*/ 132 w 245"/>
                <a:gd name="T47" fmla="*/ 62 h 218"/>
                <a:gd name="T48" fmla="*/ 116 w 245"/>
                <a:gd name="T49" fmla="*/ 62 h 218"/>
                <a:gd name="T50" fmla="*/ 113 w 245"/>
                <a:gd name="T51" fmla="*/ 59 h 218"/>
                <a:gd name="T52" fmla="*/ 107 w 245"/>
                <a:gd name="T53" fmla="*/ 15 h 218"/>
                <a:gd name="T54" fmla="*/ 108 w 245"/>
                <a:gd name="T55" fmla="*/ 12 h 218"/>
                <a:gd name="T56" fmla="*/ 235 w 245"/>
                <a:gd name="T57" fmla="*/ 208 h 218"/>
                <a:gd name="T58" fmla="*/ 10 w 245"/>
                <a:gd name="T59" fmla="*/ 208 h 218"/>
                <a:gd name="T60" fmla="*/ 10 w 245"/>
                <a:gd name="T61" fmla="*/ 49 h 218"/>
                <a:gd name="T62" fmla="*/ 101 w 245"/>
                <a:gd name="T63" fmla="*/ 49 h 218"/>
                <a:gd name="T64" fmla="*/ 103 w 245"/>
                <a:gd name="T65" fmla="*/ 60 h 218"/>
                <a:gd name="T66" fmla="*/ 116 w 245"/>
                <a:gd name="T67" fmla="*/ 72 h 218"/>
                <a:gd name="T68" fmla="*/ 132 w 245"/>
                <a:gd name="T69" fmla="*/ 72 h 218"/>
                <a:gd name="T70" fmla="*/ 146 w 245"/>
                <a:gd name="T71" fmla="*/ 60 h 218"/>
                <a:gd name="T72" fmla="*/ 147 w 245"/>
                <a:gd name="T73" fmla="*/ 49 h 218"/>
                <a:gd name="T74" fmla="*/ 235 w 245"/>
                <a:gd name="T75" fmla="*/ 49 h 218"/>
                <a:gd name="T76" fmla="*/ 235 w 245"/>
                <a:gd name="T77" fmla="*/ 20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18">
                  <a:moveTo>
                    <a:pt x="240" y="40"/>
                  </a:moveTo>
                  <a:cubicBezTo>
                    <a:pt x="148" y="40"/>
                    <a:pt x="148" y="40"/>
                    <a:pt x="148" y="40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2"/>
                    <a:pt x="150" y="8"/>
                    <a:pt x="148" y="5"/>
                  </a:cubicBezTo>
                  <a:cubicBezTo>
                    <a:pt x="145" y="2"/>
                    <a:pt x="141" y="0"/>
                    <a:pt x="137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07" y="0"/>
                    <a:pt x="103" y="2"/>
                    <a:pt x="101" y="5"/>
                  </a:cubicBezTo>
                  <a:cubicBezTo>
                    <a:pt x="98" y="8"/>
                    <a:pt x="97" y="12"/>
                    <a:pt x="98" y="16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2" y="40"/>
                    <a:pt x="0" y="42"/>
                    <a:pt x="0" y="44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6"/>
                    <a:pt x="2" y="218"/>
                    <a:pt x="5" y="218"/>
                  </a:cubicBezTo>
                  <a:cubicBezTo>
                    <a:pt x="240" y="218"/>
                    <a:pt x="240" y="218"/>
                    <a:pt x="240" y="218"/>
                  </a:cubicBezTo>
                  <a:cubicBezTo>
                    <a:pt x="243" y="218"/>
                    <a:pt x="245" y="216"/>
                    <a:pt x="245" y="213"/>
                  </a:cubicBezTo>
                  <a:cubicBezTo>
                    <a:pt x="245" y="44"/>
                    <a:pt x="245" y="44"/>
                    <a:pt x="245" y="44"/>
                  </a:cubicBezTo>
                  <a:cubicBezTo>
                    <a:pt x="245" y="42"/>
                    <a:pt x="243" y="40"/>
                    <a:pt x="240" y="40"/>
                  </a:cubicBezTo>
                  <a:close/>
                  <a:moveTo>
                    <a:pt x="108" y="12"/>
                  </a:moveTo>
                  <a:cubicBezTo>
                    <a:pt x="109" y="11"/>
                    <a:pt x="110" y="10"/>
                    <a:pt x="111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8" y="10"/>
                    <a:pt x="139" y="11"/>
                    <a:pt x="140" y="12"/>
                  </a:cubicBezTo>
                  <a:cubicBezTo>
                    <a:pt x="141" y="13"/>
                    <a:pt x="141" y="14"/>
                    <a:pt x="141" y="15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61"/>
                    <a:pt x="134" y="62"/>
                    <a:pt x="132" y="62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3" y="61"/>
                    <a:pt x="113" y="59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4"/>
                    <a:pt x="108" y="13"/>
                    <a:pt x="108" y="12"/>
                  </a:cubicBezTo>
                  <a:close/>
                  <a:moveTo>
                    <a:pt x="235" y="208"/>
                  </a:moveTo>
                  <a:cubicBezTo>
                    <a:pt x="10" y="208"/>
                    <a:pt x="10" y="208"/>
                    <a:pt x="10" y="20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4" y="67"/>
                    <a:pt x="109" y="72"/>
                    <a:pt x="116" y="72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9" y="72"/>
                    <a:pt x="145" y="67"/>
                    <a:pt x="146" y="60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235" y="49"/>
                    <a:pt x="235" y="49"/>
                    <a:pt x="235" y="49"/>
                  </a:cubicBezTo>
                  <a:lnTo>
                    <a:pt x="235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48"/>
            <p:cNvSpPr>
              <a:spLocks/>
            </p:cNvSpPr>
            <p:nvPr/>
          </p:nvSpPr>
          <p:spPr bwMode="auto">
            <a:xfrm>
              <a:off x="8051800" y="2101850"/>
              <a:ext cx="160338" cy="20638"/>
            </a:xfrm>
            <a:custGeom>
              <a:avLst/>
              <a:gdLst>
                <a:gd name="T0" fmla="*/ 70 w 75"/>
                <a:gd name="T1" fmla="*/ 0 h 10"/>
                <a:gd name="T2" fmla="*/ 5 w 75"/>
                <a:gd name="T3" fmla="*/ 0 h 10"/>
                <a:gd name="T4" fmla="*/ 0 w 75"/>
                <a:gd name="T5" fmla="*/ 5 h 10"/>
                <a:gd name="T6" fmla="*/ 5 w 75"/>
                <a:gd name="T7" fmla="*/ 10 h 10"/>
                <a:gd name="T8" fmla="*/ 70 w 75"/>
                <a:gd name="T9" fmla="*/ 10 h 10"/>
                <a:gd name="T10" fmla="*/ 75 w 75"/>
                <a:gd name="T11" fmla="*/ 5 h 10"/>
                <a:gd name="T12" fmla="*/ 70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7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49"/>
            <p:cNvSpPr>
              <a:spLocks/>
            </p:cNvSpPr>
            <p:nvPr/>
          </p:nvSpPr>
          <p:spPr bwMode="auto">
            <a:xfrm>
              <a:off x="8051800" y="2041525"/>
              <a:ext cx="160338" cy="22225"/>
            </a:xfrm>
            <a:custGeom>
              <a:avLst/>
              <a:gdLst>
                <a:gd name="T0" fmla="*/ 5 w 75"/>
                <a:gd name="T1" fmla="*/ 0 h 10"/>
                <a:gd name="T2" fmla="*/ 0 w 75"/>
                <a:gd name="T3" fmla="*/ 5 h 10"/>
                <a:gd name="T4" fmla="*/ 5 w 75"/>
                <a:gd name="T5" fmla="*/ 10 h 10"/>
                <a:gd name="T6" fmla="*/ 70 w 75"/>
                <a:gd name="T7" fmla="*/ 10 h 10"/>
                <a:gd name="T8" fmla="*/ 75 w 75"/>
                <a:gd name="T9" fmla="*/ 5 h 10"/>
                <a:gd name="T10" fmla="*/ 70 w 75"/>
                <a:gd name="T11" fmla="*/ 0 h 10"/>
                <a:gd name="T12" fmla="*/ 5 w 7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0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3" y="10"/>
                    <a:pt x="75" y="8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7555388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altLang="cs-CZ" dirty="0" err="1"/>
              <a:t>Deloitte</a:t>
            </a:r>
            <a:r>
              <a:rPr lang="cs-CZ" altLang="cs-CZ" dirty="0"/>
              <a:t> označuje jednu či více společností </a:t>
            </a:r>
            <a:r>
              <a:rPr lang="cs-CZ" altLang="cs-CZ" dirty="0" err="1"/>
              <a:t>Deloitte</a:t>
            </a:r>
            <a:r>
              <a:rPr lang="cs-CZ" altLang="cs-CZ" dirty="0"/>
              <a:t> </a:t>
            </a:r>
            <a:r>
              <a:rPr lang="cs-CZ" altLang="cs-CZ" dirty="0" err="1"/>
              <a:t>Touche</a:t>
            </a:r>
            <a:r>
              <a:rPr lang="cs-CZ" altLang="cs-CZ" dirty="0"/>
              <a:t> </a:t>
            </a:r>
            <a:r>
              <a:rPr lang="cs-CZ" altLang="cs-CZ" dirty="0" err="1"/>
              <a:t>Tohmatsu</a:t>
            </a:r>
            <a:r>
              <a:rPr lang="cs-CZ" altLang="cs-CZ" dirty="0"/>
              <a:t> Limited („DTTL“), globální síť jejích členských firem a jejich spřízněných subjektů. Společnost DTTL (rovněž označovaná jako „</a:t>
            </a:r>
            <a:r>
              <a:rPr lang="cs-CZ" altLang="cs-CZ" dirty="0" err="1"/>
              <a:t>Deloitte</a:t>
            </a:r>
            <a:r>
              <a:rPr lang="cs-CZ" altLang="cs-CZ" dirty="0"/>
              <a:t> </a:t>
            </a:r>
            <a:r>
              <a:rPr lang="cs-CZ" altLang="cs-CZ" dirty="0" err="1"/>
              <a:t>Global</a:t>
            </a:r>
            <a:r>
              <a:rPr lang="cs-CZ" altLang="cs-CZ" dirty="0"/>
              <a:t>“) a každá z jejích členských firem představuje samostatný a nezávislý právní subjekt. Společnost DTTL služby klientům neposkytuje. Více informací je uvedeno na adrese www.deloitte.com/</a:t>
            </a:r>
            <a:r>
              <a:rPr lang="cs-CZ" altLang="cs-CZ" dirty="0" err="1"/>
              <a:t>about</a:t>
            </a:r>
            <a:r>
              <a:rPr lang="cs-CZ" altLang="cs-CZ" dirty="0"/>
              <a:t>. </a:t>
            </a:r>
          </a:p>
          <a:p>
            <a:r>
              <a:rPr lang="cs-CZ" altLang="cs-CZ" dirty="0"/>
              <a:t>Společnost </a:t>
            </a:r>
            <a:r>
              <a:rPr lang="cs-CZ" altLang="cs-CZ" dirty="0" err="1"/>
              <a:t>Deloitte</a:t>
            </a:r>
            <a:r>
              <a:rPr lang="cs-CZ" altLang="cs-CZ" dirty="0"/>
              <a:t> je předním globálním poskytovatelem služeb v oblasti auditu a </a:t>
            </a:r>
            <a:r>
              <a:rPr lang="cs-CZ" altLang="cs-CZ" dirty="0" err="1"/>
              <a:t>assurance</a:t>
            </a:r>
            <a:r>
              <a:rPr lang="cs-CZ" altLang="cs-CZ" dirty="0"/>
              <a:t>, podnikového poradenství, finančního poradenství, poradenství v oblasti rizik a daní a souvisejících služeb. Naše sít členských firem ve více než 150 zemích a teritoriích poskytuje služby čtyřem z pěti společností figurujících v žebříčku </a:t>
            </a:r>
            <a:r>
              <a:rPr lang="cs-CZ" altLang="cs-CZ" dirty="0" err="1"/>
              <a:t>Fortune</a:t>
            </a:r>
            <a:r>
              <a:rPr lang="cs-CZ" altLang="cs-CZ" dirty="0"/>
              <a:t> </a:t>
            </a:r>
            <a:r>
              <a:rPr lang="cs-CZ" altLang="cs-CZ" dirty="0" err="1"/>
              <a:t>Global</a:t>
            </a:r>
            <a:r>
              <a:rPr lang="cs-CZ" altLang="cs-CZ" dirty="0"/>
              <a:t> 500 ®. Chcete-li se dozvědět více o způsobu, jakým zhruba 264 000 odborníků dělá to, co má pro klienty smysl, navštivte www.deloitte.com.</a:t>
            </a:r>
          </a:p>
          <a:p>
            <a:r>
              <a:rPr lang="cs-CZ" altLang="cs-CZ" dirty="0"/>
              <a:t>Tato publikace obsahuje pouze obecné informace a společnost </a:t>
            </a:r>
            <a:r>
              <a:rPr lang="cs-CZ" altLang="cs-CZ" dirty="0" err="1"/>
              <a:t>Deloitte</a:t>
            </a:r>
            <a:r>
              <a:rPr lang="cs-CZ" altLang="cs-CZ" dirty="0"/>
              <a:t> </a:t>
            </a:r>
            <a:r>
              <a:rPr lang="cs-CZ" altLang="cs-CZ" dirty="0" err="1"/>
              <a:t>Touche</a:t>
            </a:r>
            <a:r>
              <a:rPr lang="cs-CZ" altLang="cs-CZ" dirty="0"/>
              <a:t> </a:t>
            </a:r>
            <a:r>
              <a:rPr lang="cs-CZ" altLang="cs-CZ" dirty="0" err="1"/>
              <a:t>Tohmatsu</a:t>
            </a:r>
            <a:r>
              <a:rPr lang="cs-CZ" altLang="cs-CZ" dirty="0"/>
              <a:t> Limited ani žádná z jejích členských firem či jejich spřízněných podniků (souhrnně „síť společností </a:t>
            </a:r>
            <a:r>
              <a:rPr lang="cs-CZ" altLang="cs-CZ" dirty="0" err="1"/>
              <a:t>Deloitte</a:t>
            </a:r>
            <a:r>
              <a:rPr lang="cs-CZ" altLang="cs-CZ" dirty="0"/>
              <a:t>“) jejím prostřednictvím neposkytuje odborné rady a služby. Přijetí jakéhokoliv rozhodnutí či jednání, které může mít dopad na Vaše finance či podnik, byste měli konzultovat s kvalifikovaným odborným poradcem. Žádný subjekt v rámci sítě společností </a:t>
            </a:r>
            <a:r>
              <a:rPr lang="cs-CZ" altLang="cs-CZ" dirty="0" err="1"/>
              <a:t>Deloitte</a:t>
            </a:r>
            <a:r>
              <a:rPr lang="cs-CZ" altLang="cs-CZ" dirty="0"/>
              <a:t> nenese odpovědnost za ztráty vzniklé jakýmkoli osobám v důsledku použití této komunikace.</a:t>
            </a:r>
          </a:p>
          <a:p>
            <a:r>
              <a:rPr lang="cs-CZ" altLang="cs-CZ" dirty="0"/>
              <a:t>© 2020 Pro více informací kontaktujte </a:t>
            </a:r>
            <a:r>
              <a:rPr lang="cs-CZ" altLang="cs-CZ" dirty="0" err="1"/>
              <a:t>Deloitte</a:t>
            </a:r>
            <a:r>
              <a:rPr lang="cs-CZ" altLang="cs-CZ" dirty="0"/>
              <a:t>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870332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CK_template_16_9_2019.potx" id="{B0492222-1369-4F56-AF45-071EB8822403}" vid="{747D2E6E-D3F0-46F0-B429-EFD9AF7236F4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CK_template_16_9_2019.potx" id="{B0492222-1369-4F56-AF45-071EB8822403}" vid="{8D7763A3-5F9E-4200-B9B7-353BC589128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77B702922F2A44BDE7547367369AA6" ma:contentTypeVersion="9" ma:contentTypeDescription="Create a new document." ma:contentTypeScope="" ma:versionID="771f80768c4fdd386aa21601355b8e3a">
  <xsd:schema xmlns:xsd="http://www.w3.org/2001/XMLSchema" xmlns:xs="http://www.w3.org/2001/XMLSchema" xmlns:p="http://schemas.microsoft.com/office/2006/metadata/properties" xmlns:ns3="a5f0ab95-5a01-4909-bf46-fa028a69bf1b" xmlns:ns4="d54baa7d-cc70-433b-b317-8f653e562f2d" targetNamespace="http://schemas.microsoft.com/office/2006/metadata/properties" ma:root="true" ma:fieldsID="1b8fa07cf1509059b8091b4ea45e5989" ns3:_="" ns4:_="">
    <xsd:import namespace="a5f0ab95-5a01-4909-bf46-fa028a69bf1b"/>
    <xsd:import namespace="d54baa7d-cc70-433b-b317-8f653e562f2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f0ab95-5a01-4909-bf46-fa028a69bf1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4baa7d-cc70-433b-b317-8f653e562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2E16C8A-039B-4DF3-98F4-FFBE4913BD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959F9D-A1CE-4F9E-90B2-7D92BD646EDD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a5f0ab95-5a01-4909-bf46-fa028a69bf1b"/>
    <ds:schemaRef ds:uri="http://schemas.microsoft.com/office/2006/metadata/properties"/>
    <ds:schemaRef ds:uri="http://purl.org/dc/terms/"/>
    <ds:schemaRef ds:uri="http://schemas.openxmlformats.org/package/2006/metadata/core-properties"/>
    <ds:schemaRef ds:uri="d54baa7d-cc70-433b-b317-8f653e562f2d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9A24EE1-C071-482F-B5BB-0AA431C5E1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f0ab95-5a01-4909-bf46-fa028a69bf1b"/>
    <ds:schemaRef ds:uri="d54baa7d-cc70-433b-b317-8f653e562f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CK_template_16_9_2020</Template>
  <TotalTime>199</TotalTime>
  <Words>488</Words>
  <Application>Microsoft Office PowerPoint</Application>
  <PresentationFormat>Širokoúhlá obrazovka</PresentationFormat>
  <Paragraphs>54</Paragraphs>
  <Slides>9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5" baseType="lpstr">
      <vt:lpstr>Arial</vt:lpstr>
      <vt:lpstr>Verdana</vt:lpstr>
      <vt:lpstr>Wingdings 2</vt:lpstr>
      <vt:lpstr>Deloitte_US_Onscreen</vt:lpstr>
      <vt:lpstr>1_Deloitte_US_Onscreen</vt:lpstr>
      <vt:lpstr>think-cell Slide</vt:lpstr>
      <vt:lpstr>Prezentace aplikace PowerPoint</vt:lpstr>
      <vt:lpstr>Panelová diskuse Ptejte se na Sli.do! - #loremipsum Ptejte se dobře </vt:lpstr>
      <vt:lpstr>Panelová diskuse</vt:lpstr>
      <vt:lpstr>Prezentace aplikace PowerPoint</vt:lpstr>
      <vt:lpstr>Kryštof Kruliš - intro</vt:lpstr>
      <vt:lpstr>1. TÉMA</vt:lpstr>
      <vt:lpstr>Prezentace aplikace PowerPoint</vt:lpstr>
      <vt:lpstr>Děkujeme za pozornost</vt:lpstr>
      <vt:lpstr>Prezentace aplikace PowerPoint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uscherova, Denisa</dc:creator>
  <cp:lastModifiedBy>K K</cp:lastModifiedBy>
  <cp:revision>52</cp:revision>
  <cp:lastPrinted>2014-06-25T02:16:22Z</cp:lastPrinted>
  <dcterms:created xsi:type="dcterms:W3CDTF">2020-01-23T13:18:27Z</dcterms:created>
  <dcterms:modified xsi:type="dcterms:W3CDTF">2020-02-10T14:1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77B702922F2A44BDE7547367369AA6</vt:lpwstr>
  </property>
</Properties>
</file>